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60" r:id="rId4"/>
  </p:sldMasterIdLst>
  <p:notesMasterIdLst>
    <p:notesMasterId r:id="rId19"/>
  </p:notesMasterIdLst>
  <p:sldIdLst>
    <p:sldId id="414" r:id="rId5"/>
    <p:sldId id="492" r:id="rId6"/>
    <p:sldId id="506" r:id="rId7"/>
    <p:sldId id="509" r:id="rId8"/>
    <p:sldId id="514" r:id="rId9"/>
    <p:sldId id="515" r:id="rId10"/>
    <p:sldId id="505" r:id="rId11"/>
    <p:sldId id="507" r:id="rId12"/>
    <p:sldId id="511" r:id="rId13"/>
    <p:sldId id="512" r:id="rId14"/>
    <p:sldId id="513" r:id="rId15"/>
    <p:sldId id="510" r:id="rId16"/>
    <p:sldId id="434" r:id="rId17"/>
    <p:sldId id="276" r:id="rId18"/>
  </p:sldIdLst>
  <p:sldSz cx="12192000" cy="6858000"/>
  <p:notesSz cx="6858000" cy="9144000"/>
  <p:embeddedFontLst>
    <p:embeddedFont>
      <p:font typeface="Aptos Narrow" panose="020B0004020202020204" pitchFamily="34" charset="0"/>
      <p:regular r:id="rId20"/>
      <p:bold r:id="rId21"/>
      <p:italic r:id="rId22"/>
      <p:boldItalic r:id="rId23"/>
    </p:embeddedFont>
    <p:embeddedFont>
      <p:font typeface="Elevance Sans" pitchFamily="50" charset="0"/>
      <p:regular r:id="rId24"/>
      <p:bold r:id="rId25"/>
      <p:italic r:id="rId26"/>
      <p:boldItalic r:id="rId27"/>
    </p:embeddedFont>
    <p:embeddedFont>
      <p:font typeface="Elevance Sans Italic" panose="020B0604020202020204" charset="0"/>
      <p:bold r:id="rId28"/>
      <p:italic r:id="rId29"/>
      <p:boldItalic r:id="rId30"/>
    </p:embeddedFont>
    <p:embeddedFont>
      <p:font typeface="Elevance Sans Medium" pitchFamily="50" charset="0"/>
      <p:regular r:id="rId31"/>
      <p:italic r:id="rId32"/>
    </p:embeddedFont>
  </p:embeddedFontLst>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1FAC12-BECD-49B6-BC4D-78CFD03551EC}" v="26" dt="2024-10-17T14:40:04.6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34" autoAdjust="0"/>
    <p:restoredTop sz="90822" autoAdjust="0"/>
  </p:normalViewPr>
  <p:slideViewPr>
    <p:cSldViewPr snapToGrid="0" snapToObjects="1">
      <p:cViewPr varScale="1">
        <p:scale>
          <a:sx n="75" d="100"/>
          <a:sy n="75" d="100"/>
        </p:scale>
        <p:origin x="1349" y="48"/>
      </p:cViewPr>
      <p:guideLst/>
    </p:cSldViewPr>
  </p:slideViewPr>
  <p:outlineViewPr>
    <p:cViewPr>
      <p:scale>
        <a:sx n="33" d="100"/>
        <a:sy n="33" d="100"/>
      </p:scale>
      <p:origin x="0" y="-51752"/>
    </p:cViewPr>
  </p:outlineViewPr>
  <p:notesTextViewPr>
    <p:cViewPr>
      <p:scale>
        <a:sx n="100" d="100"/>
        <a:sy n="100" d="100"/>
      </p:scale>
      <p:origin x="0" y="0"/>
    </p:cViewPr>
  </p:notesTextViewPr>
  <p:sorterViewPr>
    <p:cViewPr>
      <p:scale>
        <a:sx n="42" d="100"/>
        <a:sy n="42"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7.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2.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6.fntdata"/><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1.fntdata"/><Relationship Id="rId29"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M, Roja" userId="3f7d0bc6-dbf6-4d6f-a169-d6fed478b298" providerId="ADAL" clId="{433777DD-36E3-4B34-8224-1BC3743E0991}"/>
    <pc:docChg chg="undo custSel addSld delSld modSld sldOrd">
      <pc:chgData name="C.M, Roja" userId="3f7d0bc6-dbf6-4d6f-a169-d6fed478b298" providerId="ADAL" clId="{433777DD-36E3-4B34-8224-1BC3743E0991}" dt="2024-10-08T14:13:01.651" v="3776" actId="20577"/>
      <pc:docMkLst>
        <pc:docMk/>
      </pc:docMkLst>
      <pc:sldChg chg="modSp mod">
        <pc:chgData name="C.M, Roja" userId="3f7d0bc6-dbf6-4d6f-a169-d6fed478b298" providerId="ADAL" clId="{433777DD-36E3-4B34-8224-1BC3743E0991}" dt="2024-08-28T14:51:29.080" v="2928" actId="20577"/>
        <pc:sldMkLst>
          <pc:docMk/>
          <pc:sldMk cId="3128460175" sldId="414"/>
        </pc:sldMkLst>
        <pc:spChg chg="mod">
          <ac:chgData name="C.M, Roja" userId="3f7d0bc6-dbf6-4d6f-a169-d6fed478b298" providerId="ADAL" clId="{433777DD-36E3-4B34-8224-1BC3743E0991}" dt="2024-08-28T14:51:29.080" v="2928" actId="20577"/>
          <ac:spMkLst>
            <pc:docMk/>
            <pc:sldMk cId="3128460175" sldId="414"/>
            <ac:spMk id="7" creationId="{80A0F69B-72CA-54A1-0AA6-BD3C0E24AB3C}"/>
          </ac:spMkLst>
        </pc:spChg>
      </pc:sldChg>
      <pc:sldChg chg="modSp mod">
        <pc:chgData name="C.M, Roja" userId="3f7d0bc6-dbf6-4d6f-a169-d6fed478b298" providerId="ADAL" clId="{433777DD-36E3-4B34-8224-1BC3743E0991}" dt="2024-08-27T13:50:03.764" v="1816" actId="20577"/>
        <pc:sldMkLst>
          <pc:docMk/>
          <pc:sldMk cId="581221078" sldId="467"/>
        </pc:sldMkLst>
        <pc:spChg chg="mod">
          <ac:chgData name="C.M, Roja" userId="3f7d0bc6-dbf6-4d6f-a169-d6fed478b298" providerId="ADAL" clId="{433777DD-36E3-4B34-8224-1BC3743E0991}" dt="2024-08-27T13:50:03.764" v="1816" actId="20577"/>
          <ac:spMkLst>
            <pc:docMk/>
            <pc:sldMk cId="581221078" sldId="467"/>
            <ac:spMk id="9" creationId="{59FF59FE-2C21-5F45-90F1-3AAFD7CCA883}"/>
          </ac:spMkLst>
        </pc:spChg>
      </pc:sldChg>
      <pc:sldChg chg="modSp mod">
        <pc:chgData name="C.M, Roja" userId="3f7d0bc6-dbf6-4d6f-a169-d6fed478b298" providerId="ADAL" clId="{433777DD-36E3-4B34-8224-1BC3743E0991}" dt="2024-10-08T14:12:17.186" v="3745" actId="20577"/>
        <pc:sldMkLst>
          <pc:docMk/>
          <pc:sldMk cId="59020523" sldId="468"/>
        </pc:sldMkLst>
        <pc:spChg chg="mod">
          <ac:chgData name="C.M, Roja" userId="3f7d0bc6-dbf6-4d6f-a169-d6fed478b298" providerId="ADAL" clId="{433777DD-36E3-4B34-8224-1BC3743E0991}" dt="2024-10-08T14:12:17.186" v="3745" actId="20577"/>
          <ac:spMkLst>
            <pc:docMk/>
            <pc:sldMk cId="59020523" sldId="468"/>
            <ac:spMk id="3" creationId="{A50EDE73-3866-062B-49FA-129EE7081B89}"/>
          </ac:spMkLst>
        </pc:spChg>
      </pc:sldChg>
      <pc:sldChg chg="modSp mod modNotesTx">
        <pc:chgData name="C.M, Roja" userId="3f7d0bc6-dbf6-4d6f-a169-d6fed478b298" providerId="ADAL" clId="{433777DD-36E3-4B34-8224-1BC3743E0991}" dt="2024-08-27T14:02:51.224" v="2119" actId="13926"/>
        <pc:sldMkLst>
          <pc:docMk/>
          <pc:sldMk cId="2830994021" sldId="469"/>
        </pc:sldMkLst>
        <pc:spChg chg="mod">
          <ac:chgData name="C.M, Roja" userId="3f7d0bc6-dbf6-4d6f-a169-d6fed478b298" providerId="ADAL" clId="{433777DD-36E3-4B34-8224-1BC3743E0991}" dt="2024-08-27T14:02:51.224" v="2119" actId="13926"/>
          <ac:spMkLst>
            <pc:docMk/>
            <pc:sldMk cId="2830994021" sldId="469"/>
            <ac:spMk id="3" creationId="{119CC90B-095E-3388-638C-50ED07AA1628}"/>
          </ac:spMkLst>
        </pc:spChg>
      </pc:sldChg>
      <pc:sldChg chg="modSp mod modNotesTx">
        <pc:chgData name="C.M, Roja" userId="3f7d0bc6-dbf6-4d6f-a169-d6fed478b298" providerId="ADAL" clId="{433777DD-36E3-4B34-8224-1BC3743E0991}" dt="2024-08-27T14:07:10.614" v="2175" actId="6549"/>
        <pc:sldMkLst>
          <pc:docMk/>
          <pc:sldMk cId="904595445" sldId="470"/>
        </pc:sldMkLst>
        <pc:spChg chg="mod">
          <ac:chgData name="C.M, Roja" userId="3f7d0bc6-dbf6-4d6f-a169-d6fed478b298" providerId="ADAL" clId="{433777DD-36E3-4B34-8224-1BC3743E0991}" dt="2024-08-23T14:30:35.522" v="1249" actId="20577"/>
          <ac:spMkLst>
            <pc:docMk/>
            <pc:sldMk cId="904595445" sldId="470"/>
            <ac:spMk id="2" creationId="{1D0A5938-2C6E-C363-1251-D468845D73D6}"/>
          </ac:spMkLst>
        </pc:spChg>
        <pc:spChg chg="mod">
          <ac:chgData name="C.M, Roja" userId="3f7d0bc6-dbf6-4d6f-a169-d6fed478b298" providerId="ADAL" clId="{433777DD-36E3-4B34-8224-1BC3743E0991}" dt="2024-08-27T14:07:10.614" v="2175" actId="6549"/>
          <ac:spMkLst>
            <pc:docMk/>
            <pc:sldMk cId="904595445" sldId="470"/>
            <ac:spMk id="3" creationId="{23B04CD5-FEA0-2939-79A7-E6DF57A9783A}"/>
          </ac:spMkLst>
        </pc:spChg>
      </pc:sldChg>
      <pc:sldChg chg="modSp del mod modNotesTx">
        <pc:chgData name="C.M, Roja" userId="3f7d0bc6-dbf6-4d6f-a169-d6fed478b298" providerId="ADAL" clId="{433777DD-36E3-4B34-8224-1BC3743E0991}" dt="2024-08-23T14:39:41.440" v="1354" actId="2696"/>
        <pc:sldMkLst>
          <pc:docMk/>
          <pc:sldMk cId="1714376436" sldId="471"/>
        </pc:sldMkLst>
        <pc:spChg chg="mod">
          <ac:chgData name="C.M, Roja" userId="3f7d0bc6-dbf6-4d6f-a169-d6fed478b298" providerId="ADAL" clId="{433777DD-36E3-4B34-8224-1BC3743E0991}" dt="2024-08-23T14:39:26.951" v="1351" actId="108"/>
          <ac:spMkLst>
            <pc:docMk/>
            <pc:sldMk cId="1714376436" sldId="471"/>
            <ac:spMk id="3" creationId="{7B0EF98B-ACC5-41A4-9933-A2DAA5245E11}"/>
          </ac:spMkLst>
        </pc:spChg>
      </pc:sldChg>
      <pc:sldChg chg="addSp delSp modSp new mod ord modNotesTx">
        <pc:chgData name="C.M, Roja" userId="3f7d0bc6-dbf6-4d6f-a169-d6fed478b298" providerId="ADAL" clId="{433777DD-36E3-4B34-8224-1BC3743E0991}" dt="2024-08-27T14:13:50.272" v="2179" actId="13926"/>
        <pc:sldMkLst>
          <pc:docMk/>
          <pc:sldMk cId="70404210" sldId="472"/>
        </pc:sldMkLst>
        <pc:spChg chg="mod">
          <ac:chgData name="C.M, Roja" userId="3f7d0bc6-dbf6-4d6f-a169-d6fed478b298" providerId="ADAL" clId="{433777DD-36E3-4B34-8224-1BC3743E0991}" dt="2024-08-21T07:14:46.016" v="12" actId="20577"/>
          <ac:spMkLst>
            <pc:docMk/>
            <pc:sldMk cId="70404210" sldId="472"/>
            <ac:spMk id="2" creationId="{B0D95116-2287-1EBD-355C-7597C069BEEC}"/>
          </ac:spMkLst>
        </pc:spChg>
        <pc:spChg chg="add del">
          <ac:chgData name="C.M, Roja" userId="3f7d0bc6-dbf6-4d6f-a169-d6fed478b298" providerId="ADAL" clId="{433777DD-36E3-4B34-8224-1BC3743E0991}" dt="2024-08-21T10:47:40.939" v="339"/>
          <ac:spMkLst>
            <pc:docMk/>
            <pc:sldMk cId="70404210" sldId="472"/>
            <ac:spMk id="3" creationId="{81B6FD2E-E7EC-57EA-4509-C71A74B1DCD3}"/>
          </ac:spMkLst>
        </pc:spChg>
        <pc:spChg chg="del">
          <ac:chgData name="C.M, Roja" userId="3f7d0bc6-dbf6-4d6f-a169-d6fed478b298" providerId="ADAL" clId="{433777DD-36E3-4B34-8224-1BC3743E0991}" dt="2024-08-21T07:14:50.058" v="13" actId="478"/>
          <ac:spMkLst>
            <pc:docMk/>
            <pc:sldMk cId="70404210" sldId="472"/>
            <ac:spMk id="4" creationId="{7CDB54A5-739B-26F0-6790-F365F1694270}"/>
          </ac:spMkLst>
        </pc:spChg>
        <pc:spChg chg="add del mod">
          <ac:chgData name="C.M, Roja" userId="3f7d0bc6-dbf6-4d6f-a169-d6fed478b298" providerId="ADAL" clId="{433777DD-36E3-4B34-8224-1BC3743E0991}" dt="2024-08-22T17:23:28.825" v="1095"/>
          <ac:spMkLst>
            <pc:docMk/>
            <pc:sldMk cId="70404210" sldId="472"/>
            <ac:spMk id="4" creationId="{E20DB8C8-A600-33CE-F5A8-1188D3852ABB}"/>
          </ac:spMkLst>
        </pc:spChg>
        <pc:graphicFrameChg chg="add del mod ord modGraphic">
          <ac:chgData name="C.M, Roja" userId="3f7d0bc6-dbf6-4d6f-a169-d6fed478b298" providerId="ADAL" clId="{433777DD-36E3-4B34-8224-1BC3743E0991}" dt="2024-08-21T09:59:06.017" v="338" actId="3680"/>
          <ac:graphicFrameMkLst>
            <pc:docMk/>
            <pc:sldMk cId="70404210" sldId="472"/>
            <ac:graphicFrameMk id="5" creationId="{5DF6A97B-B18E-084F-6FA2-74A0BA084209}"/>
          </ac:graphicFrameMkLst>
        </pc:graphicFrameChg>
        <pc:graphicFrameChg chg="add mod modGraphic">
          <ac:chgData name="C.M, Roja" userId="3f7d0bc6-dbf6-4d6f-a169-d6fed478b298" providerId="ADAL" clId="{433777DD-36E3-4B34-8224-1BC3743E0991}" dt="2024-08-27T14:13:50.272" v="2179" actId="13926"/>
          <ac:graphicFrameMkLst>
            <pc:docMk/>
            <pc:sldMk cId="70404210" sldId="472"/>
            <ac:graphicFrameMk id="5" creationId="{EED0C913-EF78-EFA6-76EF-DB8526C30DA5}"/>
          </ac:graphicFrameMkLst>
        </pc:graphicFrameChg>
        <pc:graphicFrameChg chg="add del mod modGraphic">
          <ac:chgData name="C.M, Roja" userId="3f7d0bc6-dbf6-4d6f-a169-d6fed478b298" providerId="ADAL" clId="{433777DD-36E3-4B34-8224-1BC3743E0991}" dt="2024-08-22T17:23:26.064" v="1094" actId="478"/>
          <ac:graphicFrameMkLst>
            <pc:docMk/>
            <pc:sldMk cId="70404210" sldId="472"/>
            <ac:graphicFrameMk id="6" creationId="{EE491411-6818-0006-7132-E43E67D73C1E}"/>
          </ac:graphicFrameMkLst>
        </pc:graphicFrameChg>
      </pc:sldChg>
      <pc:sldChg chg="addSp delSp modSp new mod modNotesTx">
        <pc:chgData name="C.M, Roja" userId="3f7d0bc6-dbf6-4d6f-a169-d6fed478b298" providerId="ADAL" clId="{433777DD-36E3-4B34-8224-1BC3743E0991}" dt="2024-08-28T12:05:40.558" v="2290" actId="14734"/>
        <pc:sldMkLst>
          <pc:docMk/>
          <pc:sldMk cId="4251520480" sldId="473"/>
        </pc:sldMkLst>
        <pc:spChg chg="mod">
          <ac:chgData name="C.M, Roja" userId="3f7d0bc6-dbf6-4d6f-a169-d6fed478b298" providerId="ADAL" clId="{433777DD-36E3-4B34-8224-1BC3743E0991}" dt="2024-08-21T07:33:40.247" v="29" actId="20577"/>
          <ac:spMkLst>
            <pc:docMk/>
            <pc:sldMk cId="4251520480" sldId="473"/>
            <ac:spMk id="2" creationId="{DC811027-7410-A16A-936F-78D2574C2EB9}"/>
          </ac:spMkLst>
        </pc:spChg>
        <pc:spChg chg="del mod">
          <ac:chgData name="C.M, Roja" userId="3f7d0bc6-dbf6-4d6f-a169-d6fed478b298" providerId="ADAL" clId="{433777DD-36E3-4B34-8224-1BC3743E0991}" dt="2024-08-21T07:34:25.126" v="33" actId="3680"/>
          <ac:spMkLst>
            <pc:docMk/>
            <pc:sldMk cId="4251520480" sldId="473"/>
            <ac:spMk id="3" creationId="{6FCDA54A-E1F9-B50A-08F1-A991C9179894}"/>
          </ac:spMkLst>
        </pc:spChg>
        <pc:spChg chg="del">
          <ac:chgData name="C.M, Roja" userId="3f7d0bc6-dbf6-4d6f-a169-d6fed478b298" providerId="ADAL" clId="{433777DD-36E3-4B34-8224-1BC3743E0991}" dt="2024-08-21T07:34:04.719" v="32" actId="478"/>
          <ac:spMkLst>
            <pc:docMk/>
            <pc:sldMk cId="4251520480" sldId="473"/>
            <ac:spMk id="4" creationId="{04A7D854-5E11-67EF-D80C-A136273ED044}"/>
          </ac:spMkLst>
        </pc:spChg>
        <pc:spChg chg="add del mod">
          <ac:chgData name="C.M, Roja" userId="3f7d0bc6-dbf6-4d6f-a169-d6fed478b298" providerId="ADAL" clId="{433777DD-36E3-4B34-8224-1BC3743E0991}" dt="2024-08-28T12:04:37.943" v="2283"/>
          <ac:spMkLst>
            <pc:docMk/>
            <pc:sldMk cId="4251520480" sldId="473"/>
            <ac:spMk id="4" creationId="{E0AE1B72-37CD-D206-4435-18EF1720C325}"/>
          </ac:spMkLst>
        </pc:spChg>
        <pc:spChg chg="add del mod">
          <ac:chgData name="C.M, Roja" userId="3f7d0bc6-dbf6-4d6f-a169-d6fed478b298" providerId="ADAL" clId="{433777DD-36E3-4B34-8224-1BC3743E0991}" dt="2024-08-21T07:41:05.209" v="128" actId="3680"/>
          <ac:spMkLst>
            <pc:docMk/>
            <pc:sldMk cId="4251520480" sldId="473"/>
            <ac:spMk id="7" creationId="{A9C7A4C1-D438-4307-2E29-7DED3CE16660}"/>
          </ac:spMkLst>
        </pc:spChg>
        <pc:spChg chg="add del mod">
          <ac:chgData name="C.M, Roja" userId="3f7d0bc6-dbf6-4d6f-a169-d6fed478b298" providerId="ADAL" clId="{433777DD-36E3-4B34-8224-1BC3743E0991}" dt="2024-08-21T07:42:38.932" v="164" actId="3680"/>
          <ac:spMkLst>
            <pc:docMk/>
            <pc:sldMk cId="4251520480" sldId="473"/>
            <ac:spMk id="10" creationId="{C0483648-F1BF-B0CA-145B-BF7932EC9063}"/>
          </ac:spMkLst>
        </pc:spChg>
        <pc:spChg chg="add del mod">
          <ac:chgData name="C.M, Roja" userId="3f7d0bc6-dbf6-4d6f-a169-d6fed478b298" providerId="ADAL" clId="{433777DD-36E3-4B34-8224-1BC3743E0991}" dt="2024-08-21T07:44:41.710" v="217" actId="21"/>
          <ac:spMkLst>
            <pc:docMk/>
            <pc:sldMk cId="4251520480" sldId="473"/>
            <ac:spMk id="13" creationId="{54DD5705-E75A-B531-ED60-CA02F5010CCD}"/>
          </ac:spMkLst>
        </pc:spChg>
        <pc:spChg chg="add del mod">
          <ac:chgData name="C.M, Roja" userId="3f7d0bc6-dbf6-4d6f-a169-d6fed478b298" providerId="ADAL" clId="{433777DD-36E3-4B34-8224-1BC3743E0991}" dt="2024-08-21T07:51:57.675" v="240"/>
          <ac:spMkLst>
            <pc:docMk/>
            <pc:sldMk cId="4251520480" sldId="473"/>
            <ac:spMk id="15" creationId="{2F89A8DA-DB61-B258-43D8-5BEF4A47972B}"/>
          </ac:spMkLst>
        </pc:spChg>
        <pc:spChg chg="add del mod">
          <ac:chgData name="C.M, Roja" userId="3f7d0bc6-dbf6-4d6f-a169-d6fed478b298" providerId="ADAL" clId="{433777DD-36E3-4B34-8224-1BC3743E0991}" dt="2024-08-21T07:52:45.607" v="259"/>
          <ac:spMkLst>
            <pc:docMk/>
            <pc:sldMk cId="4251520480" sldId="473"/>
            <ac:spMk id="18" creationId="{073F3BEE-93A0-BD33-8B56-8774902E3EC3}"/>
          </ac:spMkLst>
        </pc:spChg>
        <pc:graphicFrameChg chg="add mod modGraphic">
          <ac:chgData name="C.M, Roja" userId="3f7d0bc6-dbf6-4d6f-a169-d6fed478b298" providerId="ADAL" clId="{433777DD-36E3-4B34-8224-1BC3743E0991}" dt="2024-08-28T12:05:40.558" v="2290" actId="14734"/>
          <ac:graphicFrameMkLst>
            <pc:docMk/>
            <pc:sldMk cId="4251520480" sldId="473"/>
            <ac:graphicFrameMk id="5" creationId="{C71B2C59-8F8D-3265-672D-46F352262EBD}"/>
          </ac:graphicFrameMkLst>
        </pc:graphicFrameChg>
        <pc:graphicFrameChg chg="add del mod ord modGraphic">
          <ac:chgData name="C.M, Roja" userId="3f7d0bc6-dbf6-4d6f-a169-d6fed478b298" providerId="ADAL" clId="{433777DD-36E3-4B34-8224-1BC3743E0991}" dt="2024-08-21T07:40:53.563" v="127" actId="478"/>
          <ac:graphicFrameMkLst>
            <pc:docMk/>
            <pc:sldMk cId="4251520480" sldId="473"/>
            <ac:graphicFrameMk id="5" creationId="{F061BAF9-A6FF-B345-7F3F-D07401477721}"/>
          </ac:graphicFrameMkLst>
        </pc:graphicFrameChg>
        <pc:graphicFrameChg chg="add del mod ord modGraphic">
          <ac:chgData name="C.M, Roja" userId="3f7d0bc6-dbf6-4d6f-a169-d6fed478b298" providerId="ADAL" clId="{433777DD-36E3-4B34-8224-1BC3743E0991}" dt="2024-08-21T07:42:28.677" v="163" actId="478"/>
          <ac:graphicFrameMkLst>
            <pc:docMk/>
            <pc:sldMk cId="4251520480" sldId="473"/>
            <ac:graphicFrameMk id="8" creationId="{5FBE284D-F2E4-5187-279E-9BF937EA2DD1}"/>
          </ac:graphicFrameMkLst>
        </pc:graphicFrameChg>
        <pc:graphicFrameChg chg="add del mod ord modGraphic">
          <ac:chgData name="C.M, Roja" userId="3f7d0bc6-dbf6-4d6f-a169-d6fed478b298" providerId="ADAL" clId="{433777DD-36E3-4B34-8224-1BC3743E0991}" dt="2024-08-21T07:47:28.113" v="239" actId="478"/>
          <ac:graphicFrameMkLst>
            <pc:docMk/>
            <pc:sldMk cId="4251520480" sldId="473"/>
            <ac:graphicFrameMk id="11" creationId="{76C594BD-E26F-2105-61BE-45F04ADA8EC1}"/>
          </ac:graphicFrameMkLst>
        </pc:graphicFrameChg>
        <pc:graphicFrameChg chg="add del mod modGraphic">
          <ac:chgData name="C.M, Roja" userId="3f7d0bc6-dbf6-4d6f-a169-d6fed478b298" providerId="ADAL" clId="{433777DD-36E3-4B34-8224-1BC3743E0991}" dt="2024-08-21T07:52:38.607" v="258" actId="478"/>
          <ac:graphicFrameMkLst>
            <pc:docMk/>
            <pc:sldMk cId="4251520480" sldId="473"/>
            <ac:graphicFrameMk id="16" creationId="{54610FE7-B232-D3F9-2567-ADEAAB214A9B}"/>
          </ac:graphicFrameMkLst>
        </pc:graphicFrameChg>
        <pc:graphicFrameChg chg="add del mod modGraphic">
          <ac:chgData name="C.M, Roja" userId="3f7d0bc6-dbf6-4d6f-a169-d6fed478b298" providerId="ADAL" clId="{433777DD-36E3-4B34-8224-1BC3743E0991}" dt="2024-08-28T12:04:33.637" v="2282" actId="478"/>
          <ac:graphicFrameMkLst>
            <pc:docMk/>
            <pc:sldMk cId="4251520480" sldId="473"/>
            <ac:graphicFrameMk id="19" creationId="{158EB00E-4AF5-041E-BD2E-5CD8BE44BAA0}"/>
          </ac:graphicFrameMkLst>
        </pc:graphicFrameChg>
      </pc:sldChg>
      <pc:sldChg chg="addSp delSp modSp new mod modNotesTx">
        <pc:chgData name="C.M, Roja" userId="3f7d0bc6-dbf6-4d6f-a169-d6fed478b298" providerId="ADAL" clId="{433777DD-36E3-4B34-8224-1BC3743E0991}" dt="2024-08-23T14:50:21.893" v="1530" actId="14100"/>
        <pc:sldMkLst>
          <pc:docMk/>
          <pc:sldMk cId="3656697541" sldId="474"/>
        </pc:sldMkLst>
        <pc:spChg chg="mod">
          <ac:chgData name="C.M, Roja" userId="3f7d0bc6-dbf6-4d6f-a169-d6fed478b298" providerId="ADAL" clId="{433777DD-36E3-4B34-8224-1BC3743E0991}" dt="2024-08-21T12:43:06.015" v="576" actId="20577"/>
          <ac:spMkLst>
            <pc:docMk/>
            <pc:sldMk cId="3656697541" sldId="474"/>
            <ac:spMk id="2" creationId="{9CD37036-F0D5-7115-DCCF-AF526494705F}"/>
          </ac:spMkLst>
        </pc:spChg>
        <pc:spChg chg="del">
          <ac:chgData name="C.M, Roja" userId="3f7d0bc6-dbf6-4d6f-a169-d6fed478b298" providerId="ADAL" clId="{433777DD-36E3-4B34-8224-1BC3743E0991}" dt="2024-08-21T10:52:18.466" v="351"/>
          <ac:spMkLst>
            <pc:docMk/>
            <pc:sldMk cId="3656697541" sldId="474"/>
            <ac:spMk id="3" creationId="{DBDC71E4-1F59-9DA0-EF9A-CFB7C19A858A}"/>
          </ac:spMkLst>
        </pc:spChg>
        <pc:spChg chg="add del mod">
          <ac:chgData name="C.M, Roja" userId="3f7d0bc6-dbf6-4d6f-a169-d6fed478b298" providerId="ADAL" clId="{433777DD-36E3-4B34-8224-1BC3743E0991}" dt="2024-08-22T17:26:13.090" v="1108"/>
          <ac:spMkLst>
            <pc:docMk/>
            <pc:sldMk cId="3656697541" sldId="474"/>
            <ac:spMk id="4" creationId="{025AD110-3B44-82DE-7B4F-5A7B14536F04}"/>
          </ac:spMkLst>
        </pc:spChg>
        <pc:spChg chg="del">
          <ac:chgData name="C.M, Roja" userId="3f7d0bc6-dbf6-4d6f-a169-d6fed478b298" providerId="ADAL" clId="{433777DD-36E3-4B34-8224-1BC3743E0991}" dt="2024-08-21T10:52:25.707" v="354" actId="478"/>
          <ac:spMkLst>
            <pc:docMk/>
            <pc:sldMk cId="3656697541" sldId="474"/>
            <ac:spMk id="4" creationId="{8A1F88D8-FEF0-961D-E050-12D443215942}"/>
          </ac:spMkLst>
        </pc:spChg>
        <pc:spChg chg="add del mod">
          <ac:chgData name="C.M, Roja" userId="3f7d0bc6-dbf6-4d6f-a169-d6fed478b298" providerId="ADAL" clId="{433777DD-36E3-4B34-8224-1BC3743E0991}" dt="2024-08-23T14:49:41.412" v="1526"/>
          <ac:spMkLst>
            <pc:docMk/>
            <pc:sldMk cId="3656697541" sldId="474"/>
            <ac:spMk id="7" creationId="{7888DC5E-C85C-F7B5-6DCB-A3B399C06E80}"/>
          </ac:spMkLst>
        </pc:spChg>
        <pc:spChg chg="add del mod">
          <ac:chgData name="C.M, Roja" userId="3f7d0bc6-dbf6-4d6f-a169-d6fed478b298" providerId="ADAL" clId="{433777DD-36E3-4B34-8224-1BC3743E0991}" dt="2024-08-21T11:00:24.015" v="371"/>
          <ac:spMkLst>
            <pc:docMk/>
            <pc:sldMk cId="3656697541" sldId="474"/>
            <ac:spMk id="7" creationId="{83E12301-06AA-D4A5-3C23-01BC9837E5C6}"/>
          </ac:spMkLst>
        </pc:spChg>
        <pc:spChg chg="add del mod">
          <ac:chgData name="C.M, Roja" userId="3f7d0bc6-dbf6-4d6f-a169-d6fed478b298" providerId="ADAL" clId="{433777DD-36E3-4B34-8224-1BC3743E0991}" dt="2024-08-21T14:33:18.845" v="738"/>
          <ac:spMkLst>
            <pc:docMk/>
            <pc:sldMk cId="3656697541" sldId="474"/>
            <ac:spMk id="10" creationId="{0F4B6EE5-42F4-B582-B4C5-560D00BD73AA}"/>
          </ac:spMkLst>
        </pc:spChg>
        <pc:spChg chg="add del mod">
          <ac:chgData name="C.M, Roja" userId="3f7d0bc6-dbf6-4d6f-a169-d6fed478b298" providerId="ADAL" clId="{433777DD-36E3-4B34-8224-1BC3743E0991}" dt="2024-08-23T14:50:19.832" v="1529"/>
          <ac:spMkLst>
            <pc:docMk/>
            <pc:sldMk cId="3656697541" sldId="474"/>
            <ac:spMk id="10" creationId="{2ECCB8F9-380E-D524-422E-3FBE95DA11C9}"/>
          </ac:spMkLst>
        </pc:spChg>
        <pc:graphicFrameChg chg="add del mod">
          <ac:chgData name="C.M, Roja" userId="3f7d0bc6-dbf6-4d6f-a169-d6fed478b298" providerId="ADAL" clId="{433777DD-36E3-4B34-8224-1BC3743E0991}" dt="2024-08-23T14:48:32.833" v="1401" actId="478"/>
          <ac:graphicFrameMkLst>
            <pc:docMk/>
            <pc:sldMk cId="3656697541" sldId="474"/>
            <ac:graphicFrameMk id="5" creationId="{8066507D-8D86-525A-80A9-F1379713F6A4}"/>
          </ac:graphicFrameMkLst>
        </pc:graphicFrameChg>
        <pc:graphicFrameChg chg="add del mod">
          <ac:chgData name="C.M, Roja" userId="3f7d0bc6-dbf6-4d6f-a169-d6fed478b298" providerId="ADAL" clId="{433777DD-36E3-4B34-8224-1BC3743E0991}" dt="2024-08-21T11:00:16.086" v="369" actId="478"/>
          <ac:graphicFrameMkLst>
            <pc:docMk/>
            <pc:sldMk cId="3656697541" sldId="474"/>
            <ac:graphicFrameMk id="5" creationId="{E4CCA82D-69E5-789C-B125-AEDE5BA4EC98}"/>
          </ac:graphicFrameMkLst>
        </pc:graphicFrameChg>
        <pc:graphicFrameChg chg="add del mod">
          <ac:chgData name="C.M, Roja" userId="3f7d0bc6-dbf6-4d6f-a169-d6fed478b298" providerId="ADAL" clId="{433777DD-36E3-4B34-8224-1BC3743E0991}" dt="2024-08-23T14:50:00.447" v="1527" actId="478"/>
          <ac:graphicFrameMkLst>
            <pc:docMk/>
            <pc:sldMk cId="3656697541" sldId="474"/>
            <ac:graphicFrameMk id="8" creationId="{A91F2D36-3B7D-F4B9-A3B6-7F73FA77E38E}"/>
          </ac:graphicFrameMkLst>
        </pc:graphicFrameChg>
        <pc:graphicFrameChg chg="add del mod">
          <ac:chgData name="C.M, Roja" userId="3f7d0bc6-dbf6-4d6f-a169-d6fed478b298" providerId="ADAL" clId="{433777DD-36E3-4B34-8224-1BC3743E0991}" dt="2024-08-21T14:31:03.463" v="728" actId="478"/>
          <ac:graphicFrameMkLst>
            <pc:docMk/>
            <pc:sldMk cId="3656697541" sldId="474"/>
            <ac:graphicFrameMk id="8" creationId="{E4CCA82D-69E5-789C-B125-AEDE5BA4EC98}"/>
          </ac:graphicFrameMkLst>
        </pc:graphicFrameChg>
        <pc:graphicFrameChg chg="add del mod">
          <ac:chgData name="C.M, Roja" userId="3f7d0bc6-dbf6-4d6f-a169-d6fed478b298" providerId="ADAL" clId="{433777DD-36E3-4B34-8224-1BC3743E0991}" dt="2024-08-22T17:24:12.232" v="1106" actId="478"/>
          <ac:graphicFrameMkLst>
            <pc:docMk/>
            <pc:sldMk cId="3656697541" sldId="474"/>
            <ac:graphicFrameMk id="11" creationId="{4FDD9B47-B187-879C-B7EF-285377FC6A53}"/>
          </ac:graphicFrameMkLst>
        </pc:graphicFrameChg>
        <pc:graphicFrameChg chg="add mod">
          <ac:chgData name="C.M, Roja" userId="3f7d0bc6-dbf6-4d6f-a169-d6fed478b298" providerId="ADAL" clId="{433777DD-36E3-4B34-8224-1BC3743E0991}" dt="2024-08-23T14:50:21.893" v="1530" actId="14100"/>
          <ac:graphicFrameMkLst>
            <pc:docMk/>
            <pc:sldMk cId="3656697541" sldId="474"/>
            <ac:graphicFrameMk id="12" creationId="{A91F2D36-3B7D-F4B9-A3B6-7F73FA77E38E}"/>
          </ac:graphicFrameMkLst>
        </pc:graphicFrameChg>
      </pc:sldChg>
      <pc:sldChg chg="new del">
        <pc:chgData name="C.M, Roja" userId="3f7d0bc6-dbf6-4d6f-a169-d6fed478b298" providerId="ADAL" clId="{433777DD-36E3-4B34-8224-1BC3743E0991}" dt="2024-08-21T14:31:37.185" v="732" actId="680"/>
        <pc:sldMkLst>
          <pc:docMk/>
          <pc:sldMk cId="646791258" sldId="475"/>
        </pc:sldMkLst>
      </pc:sldChg>
      <pc:sldChg chg="addSp delSp modSp new add del mod modClrScheme chgLayout modNotesTx">
        <pc:chgData name="C.M, Roja" userId="3f7d0bc6-dbf6-4d6f-a169-d6fed478b298" providerId="ADAL" clId="{433777DD-36E3-4B34-8224-1BC3743E0991}" dt="2024-08-21T14:31:47.080" v="736" actId="47"/>
        <pc:sldMkLst>
          <pc:docMk/>
          <pc:sldMk cId="2519451100" sldId="475"/>
        </pc:sldMkLst>
        <pc:spChg chg="del">
          <ac:chgData name="C.M, Roja" userId="3f7d0bc6-dbf6-4d6f-a169-d6fed478b298" providerId="ADAL" clId="{433777DD-36E3-4B34-8224-1BC3743E0991}" dt="2024-08-21T14:19:53.780" v="644" actId="26606"/>
          <ac:spMkLst>
            <pc:docMk/>
            <pc:sldMk cId="2519451100" sldId="475"/>
            <ac:spMk id="2" creationId="{4B396DD6-7B0B-A6DA-7FC0-4E37E462809D}"/>
          </ac:spMkLst>
        </pc:spChg>
        <pc:spChg chg="add del">
          <ac:chgData name="C.M, Roja" userId="3f7d0bc6-dbf6-4d6f-a169-d6fed478b298" providerId="ADAL" clId="{433777DD-36E3-4B34-8224-1BC3743E0991}" dt="2024-08-21T14:19:47.716" v="642"/>
          <ac:spMkLst>
            <pc:docMk/>
            <pc:sldMk cId="2519451100" sldId="475"/>
            <ac:spMk id="3" creationId="{52B096F1-3757-8874-5DE5-C9C25969B325}"/>
          </ac:spMkLst>
        </pc:spChg>
        <pc:spChg chg="del">
          <ac:chgData name="C.M, Roja" userId="3f7d0bc6-dbf6-4d6f-a169-d6fed478b298" providerId="ADAL" clId="{433777DD-36E3-4B34-8224-1BC3743E0991}" dt="2024-08-21T14:19:53.780" v="644" actId="26606"/>
          <ac:spMkLst>
            <pc:docMk/>
            <pc:sldMk cId="2519451100" sldId="475"/>
            <ac:spMk id="4" creationId="{60463031-672E-DF89-3664-E0FC87964C44}"/>
          </ac:spMkLst>
        </pc:spChg>
        <pc:spChg chg="add del mod">
          <ac:chgData name="C.M, Roja" userId="3f7d0bc6-dbf6-4d6f-a169-d6fed478b298" providerId="ADAL" clId="{433777DD-36E3-4B34-8224-1BC3743E0991}" dt="2024-08-21T14:20:29.368" v="647"/>
          <ac:spMkLst>
            <pc:docMk/>
            <pc:sldMk cId="2519451100" sldId="475"/>
            <ac:spMk id="8" creationId="{DF05BE12-F277-B281-4A29-1B1731BCF03E}"/>
          </ac:spMkLst>
        </pc:spChg>
        <pc:spChg chg="add del">
          <ac:chgData name="C.M, Roja" userId="3f7d0bc6-dbf6-4d6f-a169-d6fed478b298" providerId="ADAL" clId="{433777DD-36E3-4B34-8224-1BC3743E0991}" dt="2024-08-21T14:20:35.582" v="648" actId="26606"/>
          <ac:spMkLst>
            <pc:docMk/>
            <pc:sldMk cId="2519451100" sldId="475"/>
            <ac:spMk id="11" creationId="{BD82E9FC-06C6-496F-61F0-F32700AC4B55}"/>
          </ac:spMkLst>
        </pc:spChg>
        <pc:spChg chg="add del mod">
          <ac:chgData name="C.M, Roja" userId="3f7d0bc6-dbf6-4d6f-a169-d6fed478b298" providerId="ADAL" clId="{433777DD-36E3-4B34-8224-1BC3743E0991}" dt="2024-08-21T14:22:35.360" v="657"/>
          <ac:spMkLst>
            <pc:docMk/>
            <pc:sldMk cId="2519451100" sldId="475"/>
            <ac:spMk id="12" creationId="{A5B4E7FC-C442-CF7F-9B62-25D8C3E265DD}"/>
          </ac:spMkLst>
        </pc:spChg>
        <pc:spChg chg="add del">
          <ac:chgData name="C.M, Roja" userId="3f7d0bc6-dbf6-4d6f-a169-d6fed478b298" providerId="ADAL" clId="{433777DD-36E3-4B34-8224-1BC3743E0991}" dt="2024-08-21T14:20:35.582" v="648" actId="26606"/>
          <ac:spMkLst>
            <pc:docMk/>
            <pc:sldMk cId="2519451100" sldId="475"/>
            <ac:spMk id="13" creationId="{C46008D0-3554-FDFE-7C51-308A4AE18E27}"/>
          </ac:spMkLst>
        </pc:spChg>
        <pc:spChg chg="add del mod">
          <ac:chgData name="C.M, Roja" userId="3f7d0bc6-dbf6-4d6f-a169-d6fed478b298" providerId="ADAL" clId="{433777DD-36E3-4B34-8224-1BC3743E0991}" dt="2024-08-21T14:25:06.973" v="681"/>
          <ac:spMkLst>
            <pc:docMk/>
            <pc:sldMk cId="2519451100" sldId="475"/>
            <ac:spMk id="16" creationId="{848AA91F-9BEA-3D3D-1C01-E347910F50EE}"/>
          </ac:spMkLst>
        </pc:spChg>
        <pc:spChg chg="add del">
          <ac:chgData name="C.M, Roja" userId="3f7d0bc6-dbf6-4d6f-a169-d6fed478b298" providerId="ADAL" clId="{433777DD-36E3-4B34-8224-1BC3743E0991}" dt="2024-08-21T14:20:54.269" v="651" actId="26606"/>
          <ac:spMkLst>
            <pc:docMk/>
            <pc:sldMk cId="2519451100" sldId="475"/>
            <ac:spMk id="18" creationId="{8964C69C-5783-E166-84C3-AB5DBF7D6C65}"/>
          </ac:spMkLst>
        </pc:spChg>
        <pc:spChg chg="add del">
          <ac:chgData name="C.M, Roja" userId="3f7d0bc6-dbf6-4d6f-a169-d6fed478b298" providerId="ADAL" clId="{433777DD-36E3-4B34-8224-1BC3743E0991}" dt="2024-08-21T14:20:54.269" v="651" actId="26606"/>
          <ac:spMkLst>
            <pc:docMk/>
            <pc:sldMk cId="2519451100" sldId="475"/>
            <ac:spMk id="20" creationId="{26F1D6DB-D202-980F-E4CE-DE0F363CC321}"/>
          </ac:spMkLst>
        </pc:spChg>
        <pc:spChg chg="add del mod">
          <ac:chgData name="C.M, Roja" userId="3f7d0bc6-dbf6-4d6f-a169-d6fed478b298" providerId="ADAL" clId="{433777DD-36E3-4B34-8224-1BC3743E0991}" dt="2024-08-21T14:26:16.562" v="693"/>
          <ac:spMkLst>
            <pc:docMk/>
            <pc:sldMk cId="2519451100" sldId="475"/>
            <ac:spMk id="21" creationId="{0CF83594-C958-67DF-429E-DFCB50444BFA}"/>
          </ac:spMkLst>
        </pc:spChg>
        <pc:spChg chg="add del mod">
          <ac:chgData name="C.M, Roja" userId="3f7d0bc6-dbf6-4d6f-a169-d6fed478b298" providerId="ADAL" clId="{433777DD-36E3-4B34-8224-1BC3743E0991}" dt="2024-08-21T14:27:14.240" v="701"/>
          <ac:spMkLst>
            <pc:docMk/>
            <pc:sldMk cId="2519451100" sldId="475"/>
            <ac:spMk id="24" creationId="{8D390A37-7C8C-F9E8-EB98-D8F3DCC73FB3}"/>
          </ac:spMkLst>
        </pc:spChg>
        <pc:spChg chg="add del mod">
          <ac:chgData name="C.M, Roja" userId="3f7d0bc6-dbf6-4d6f-a169-d6fed478b298" providerId="ADAL" clId="{433777DD-36E3-4B34-8224-1BC3743E0991}" dt="2024-08-21T14:22:44.018" v="658" actId="26606"/>
          <ac:spMkLst>
            <pc:docMk/>
            <pc:sldMk cId="2519451100" sldId="475"/>
            <ac:spMk id="25" creationId="{9697FF90-BE52-1FF6-9007-307F505AC3DB}"/>
          </ac:spMkLst>
        </pc:spChg>
        <pc:spChg chg="add del mod">
          <ac:chgData name="C.M, Roja" userId="3f7d0bc6-dbf6-4d6f-a169-d6fed478b298" providerId="ADAL" clId="{433777DD-36E3-4B34-8224-1BC3743E0991}" dt="2024-08-21T14:22:44.018" v="658" actId="26606"/>
          <ac:spMkLst>
            <pc:docMk/>
            <pc:sldMk cId="2519451100" sldId="475"/>
            <ac:spMk id="27" creationId="{E57518D5-A921-3836-F4FA-452A40097793}"/>
          </ac:spMkLst>
        </pc:spChg>
        <pc:spChg chg="add del mod">
          <ac:chgData name="C.M, Roja" userId="3f7d0bc6-dbf6-4d6f-a169-d6fed478b298" providerId="ADAL" clId="{433777DD-36E3-4B34-8224-1BC3743E0991}" dt="2024-08-21T14:30:15.956" v="718" actId="22"/>
          <ac:spMkLst>
            <pc:docMk/>
            <pc:sldMk cId="2519451100" sldId="475"/>
            <ac:spMk id="29" creationId="{118B97F6-8123-B721-C10A-18845E0547DB}"/>
          </ac:spMkLst>
        </pc:spChg>
        <pc:spChg chg="add del">
          <ac:chgData name="C.M, Roja" userId="3f7d0bc6-dbf6-4d6f-a169-d6fed478b298" providerId="ADAL" clId="{433777DD-36E3-4B34-8224-1BC3743E0991}" dt="2024-08-21T14:23:24.889" v="666" actId="26606"/>
          <ac:spMkLst>
            <pc:docMk/>
            <pc:sldMk cId="2519451100" sldId="475"/>
            <ac:spMk id="32" creationId="{DF06DD4E-BED1-14AE-4CF3-31AF1959DF6E}"/>
          </ac:spMkLst>
        </pc:spChg>
        <pc:spChg chg="add del">
          <ac:chgData name="C.M, Roja" userId="3f7d0bc6-dbf6-4d6f-a169-d6fed478b298" providerId="ADAL" clId="{433777DD-36E3-4B34-8224-1BC3743E0991}" dt="2024-08-21T14:23:24.889" v="666" actId="26606"/>
          <ac:spMkLst>
            <pc:docMk/>
            <pc:sldMk cId="2519451100" sldId="475"/>
            <ac:spMk id="34" creationId="{142F38AA-0D3C-AEAA-0A8F-715D410926D6}"/>
          </ac:spMkLst>
        </pc:spChg>
        <pc:spChg chg="add mod">
          <ac:chgData name="C.M, Roja" userId="3f7d0bc6-dbf6-4d6f-a169-d6fed478b298" providerId="ADAL" clId="{433777DD-36E3-4B34-8224-1BC3743E0991}" dt="2024-08-21T14:31:28.147" v="729" actId="478"/>
          <ac:spMkLst>
            <pc:docMk/>
            <pc:sldMk cId="2519451100" sldId="475"/>
            <ac:spMk id="35" creationId="{DB22F8B0-E575-AEC1-91DC-1472EC78BD14}"/>
          </ac:spMkLst>
        </pc:spChg>
        <pc:spChg chg="add del">
          <ac:chgData name="C.M, Roja" userId="3f7d0bc6-dbf6-4d6f-a169-d6fed478b298" providerId="ADAL" clId="{433777DD-36E3-4B34-8224-1BC3743E0991}" dt="2024-08-21T14:23:14.819" v="661" actId="26606"/>
          <ac:spMkLst>
            <pc:docMk/>
            <pc:sldMk cId="2519451100" sldId="475"/>
            <ac:spMk id="39" creationId="{D0A15EA3-8275-AAA5-1136-247F30841947}"/>
          </ac:spMkLst>
        </pc:spChg>
        <pc:spChg chg="add del">
          <ac:chgData name="C.M, Roja" userId="3f7d0bc6-dbf6-4d6f-a169-d6fed478b298" providerId="ADAL" clId="{433777DD-36E3-4B34-8224-1BC3743E0991}" dt="2024-08-21T14:23:14.819" v="661" actId="26606"/>
          <ac:spMkLst>
            <pc:docMk/>
            <pc:sldMk cId="2519451100" sldId="475"/>
            <ac:spMk id="41" creationId="{D19EDEEC-9270-A7B6-1371-0D4AAB2D64FA}"/>
          </ac:spMkLst>
        </pc:spChg>
        <pc:spChg chg="add del">
          <ac:chgData name="C.M, Roja" userId="3f7d0bc6-dbf6-4d6f-a169-d6fed478b298" providerId="ADAL" clId="{433777DD-36E3-4B34-8224-1BC3743E0991}" dt="2024-08-21T14:23:19.457" v="663" actId="26606"/>
          <ac:spMkLst>
            <pc:docMk/>
            <pc:sldMk cId="2519451100" sldId="475"/>
            <ac:spMk id="43" creationId="{D0A15EA3-8275-AAA5-1136-247F30841947}"/>
          </ac:spMkLst>
        </pc:spChg>
        <pc:spChg chg="add del">
          <ac:chgData name="C.M, Roja" userId="3f7d0bc6-dbf6-4d6f-a169-d6fed478b298" providerId="ADAL" clId="{433777DD-36E3-4B34-8224-1BC3743E0991}" dt="2024-08-21T14:23:19.457" v="663" actId="26606"/>
          <ac:spMkLst>
            <pc:docMk/>
            <pc:sldMk cId="2519451100" sldId="475"/>
            <ac:spMk id="44" creationId="{D19EDEEC-9270-A7B6-1371-0D4AAB2D64FA}"/>
          </ac:spMkLst>
        </pc:spChg>
        <pc:spChg chg="add del mod">
          <ac:chgData name="C.M, Roja" userId="3f7d0bc6-dbf6-4d6f-a169-d6fed478b298" providerId="ADAL" clId="{433777DD-36E3-4B34-8224-1BC3743E0991}" dt="2024-08-21T14:23:24.499" v="665" actId="26606"/>
          <ac:spMkLst>
            <pc:docMk/>
            <pc:sldMk cId="2519451100" sldId="475"/>
            <ac:spMk id="46" creationId="{BFF77665-CAFA-5DBC-0EB1-443B9B30B227}"/>
          </ac:spMkLst>
        </pc:spChg>
        <pc:spChg chg="add del mod">
          <ac:chgData name="C.M, Roja" userId="3f7d0bc6-dbf6-4d6f-a169-d6fed478b298" providerId="ADAL" clId="{433777DD-36E3-4B34-8224-1BC3743E0991}" dt="2024-08-21T14:23:24.499" v="665" actId="26606"/>
          <ac:spMkLst>
            <pc:docMk/>
            <pc:sldMk cId="2519451100" sldId="475"/>
            <ac:spMk id="47" creationId="{988CB7BC-1A5A-14D3-A543-343C2AEAB7A4}"/>
          </ac:spMkLst>
        </pc:spChg>
        <pc:spChg chg="add del mod">
          <ac:chgData name="C.M, Roja" userId="3f7d0bc6-dbf6-4d6f-a169-d6fed478b298" providerId="ADAL" clId="{433777DD-36E3-4B34-8224-1BC3743E0991}" dt="2024-08-21T14:30:27.447" v="724" actId="26606"/>
          <ac:spMkLst>
            <pc:docMk/>
            <pc:sldMk cId="2519451100" sldId="475"/>
            <ac:spMk id="49" creationId="{BFF77665-CAFA-5DBC-0EB1-443B9B30B227}"/>
          </ac:spMkLst>
        </pc:spChg>
        <pc:spChg chg="add del mod">
          <ac:chgData name="C.M, Roja" userId="3f7d0bc6-dbf6-4d6f-a169-d6fed478b298" providerId="ADAL" clId="{433777DD-36E3-4B34-8224-1BC3743E0991}" dt="2024-08-21T14:23:47.125" v="675" actId="478"/>
          <ac:spMkLst>
            <pc:docMk/>
            <pc:sldMk cId="2519451100" sldId="475"/>
            <ac:spMk id="50" creationId="{988CB7BC-1A5A-14D3-A543-343C2AEAB7A4}"/>
          </ac:spMkLst>
        </pc:spChg>
        <pc:spChg chg="add del">
          <ac:chgData name="C.M, Roja" userId="3f7d0bc6-dbf6-4d6f-a169-d6fed478b298" providerId="ADAL" clId="{433777DD-36E3-4B34-8224-1BC3743E0991}" dt="2024-08-21T14:30:27.435" v="723" actId="26606"/>
          <ac:spMkLst>
            <pc:docMk/>
            <pc:sldMk cId="2519451100" sldId="475"/>
            <ac:spMk id="54" creationId="{55F210F5-1CF9-CD92-D26B-8BE60DA148EF}"/>
          </ac:spMkLst>
        </pc:spChg>
        <pc:spChg chg="add del">
          <ac:chgData name="C.M, Roja" userId="3f7d0bc6-dbf6-4d6f-a169-d6fed478b298" providerId="ADAL" clId="{433777DD-36E3-4B34-8224-1BC3743E0991}" dt="2024-08-21T14:30:27.435" v="723" actId="26606"/>
          <ac:spMkLst>
            <pc:docMk/>
            <pc:sldMk cId="2519451100" sldId="475"/>
            <ac:spMk id="56" creationId="{531477DB-AA65-F117-C6A6-F6381B608473}"/>
          </ac:spMkLst>
        </pc:spChg>
        <pc:spChg chg="add mod">
          <ac:chgData name="C.M, Roja" userId="3f7d0bc6-dbf6-4d6f-a169-d6fed478b298" providerId="ADAL" clId="{433777DD-36E3-4B34-8224-1BC3743E0991}" dt="2024-08-21T14:30:27.447" v="724" actId="26606"/>
          <ac:spMkLst>
            <pc:docMk/>
            <pc:sldMk cId="2519451100" sldId="475"/>
            <ac:spMk id="58" creationId="{637771A4-9A1D-9DFE-1DE1-683E68527710}"/>
          </ac:spMkLst>
        </pc:spChg>
        <pc:spChg chg="add mod">
          <ac:chgData name="C.M, Roja" userId="3f7d0bc6-dbf6-4d6f-a169-d6fed478b298" providerId="ADAL" clId="{433777DD-36E3-4B34-8224-1BC3743E0991}" dt="2024-08-21T14:30:27.447" v="724" actId="26606"/>
          <ac:spMkLst>
            <pc:docMk/>
            <pc:sldMk cId="2519451100" sldId="475"/>
            <ac:spMk id="59" creationId="{FB9455CA-3345-1F75-949D-1BD6242038DA}"/>
          </ac:spMkLst>
        </pc:spChg>
        <pc:spChg chg="add mod">
          <ac:chgData name="C.M, Roja" userId="3f7d0bc6-dbf6-4d6f-a169-d6fed478b298" providerId="ADAL" clId="{433777DD-36E3-4B34-8224-1BC3743E0991}" dt="2024-08-21T14:30:27.447" v="724" actId="26606"/>
          <ac:spMkLst>
            <pc:docMk/>
            <pc:sldMk cId="2519451100" sldId="475"/>
            <ac:spMk id="60" creationId="{F4A1ACAB-7C94-A62C-63D5-9EB0172F83F3}"/>
          </ac:spMkLst>
        </pc:spChg>
        <pc:graphicFrameChg chg="add mod modGraphic">
          <ac:chgData name="C.M, Roja" userId="3f7d0bc6-dbf6-4d6f-a169-d6fed478b298" providerId="ADAL" clId="{433777DD-36E3-4B34-8224-1BC3743E0991}" dt="2024-08-21T14:19:31.212" v="641"/>
          <ac:graphicFrameMkLst>
            <pc:docMk/>
            <pc:sldMk cId="2519451100" sldId="475"/>
            <ac:graphicFrameMk id="5" creationId="{E24A67D0-AA4F-1FA9-F181-D610F17BD6F6}"/>
          </ac:graphicFrameMkLst>
        </pc:graphicFrameChg>
        <pc:graphicFrameChg chg="add del mod modGraphic">
          <ac:chgData name="C.M, Roja" userId="3f7d0bc6-dbf6-4d6f-a169-d6fed478b298" providerId="ADAL" clId="{433777DD-36E3-4B34-8224-1BC3743E0991}" dt="2024-08-21T14:20:07.866" v="646" actId="478"/>
          <ac:graphicFrameMkLst>
            <pc:docMk/>
            <pc:sldMk cId="2519451100" sldId="475"/>
            <ac:graphicFrameMk id="6" creationId="{105596DD-02E9-EFDD-C84E-3DA2083F629A}"/>
          </ac:graphicFrameMkLst>
        </pc:graphicFrameChg>
        <pc:graphicFrameChg chg="add del mod modGraphic">
          <ac:chgData name="C.M, Roja" userId="3f7d0bc6-dbf6-4d6f-a169-d6fed478b298" providerId="ADAL" clId="{433777DD-36E3-4B34-8224-1BC3743E0991}" dt="2024-08-21T14:22:32.494" v="656" actId="478"/>
          <ac:graphicFrameMkLst>
            <pc:docMk/>
            <pc:sldMk cId="2519451100" sldId="475"/>
            <ac:graphicFrameMk id="9" creationId="{289A4BBC-E803-E9A1-94DB-94E2DFF7E194}"/>
          </ac:graphicFrameMkLst>
        </pc:graphicFrameChg>
        <pc:graphicFrameChg chg="add del mod modGraphic">
          <ac:chgData name="C.M, Roja" userId="3f7d0bc6-dbf6-4d6f-a169-d6fed478b298" providerId="ADAL" clId="{433777DD-36E3-4B34-8224-1BC3743E0991}" dt="2024-08-21T14:24:21.337" v="680" actId="478"/>
          <ac:graphicFrameMkLst>
            <pc:docMk/>
            <pc:sldMk cId="2519451100" sldId="475"/>
            <ac:graphicFrameMk id="14" creationId="{0374E898-73D6-DC2E-FDE4-A42E4784C807}"/>
          </ac:graphicFrameMkLst>
        </pc:graphicFrameChg>
        <pc:graphicFrameChg chg="add del mod modGraphic">
          <ac:chgData name="C.M, Roja" userId="3f7d0bc6-dbf6-4d6f-a169-d6fed478b298" providerId="ADAL" clId="{433777DD-36E3-4B34-8224-1BC3743E0991}" dt="2024-08-21T14:26:14.325" v="692" actId="478"/>
          <ac:graphicFrameMkLst>
            <pc:docMk/>
            <pc:sldMk cId="2519451100" sldId="475"/>
            <ac:graphicFrameMk id="17" creationId="{DFB5A341-DA8F-0C75-72A6-A7D1C7D4124D}"/>
          </ac:graphicFrameMkLst>
        </pc:graphicFrameChg>
        <pc:graphicFrameChg chg="add del mod modGraphic">
          <ac:chgData name="C.M, Roja" userId="3f7d0bc6-dbf6-4d6f-a169-d6fed478b298" providerId="ADAL" clId="{433777DD-36E3-4B34-8224-1BC3743E0991}" dt="2024-08-21T14:26:49.645" v="700" actId="478"/>
          <ac:graphicFrameMkLst>
            <pc:docMk/>
            <pc:sldMk cId="2519451100" sldId="475"/>
            <ac:graphicFrameMk id="22" creationId="{E14F39A7-D86A-C4FC-24CA-275EB0E09B3F}"/>
          </ac:graphicFrameMkLst>
        </pc:graphicFrameChg>
        <pc:graphicFrameChg chg="add del mod modGraphic">
          <ac:chgData name="C.M, Roja" userId="3f7d0bc6-dbf6-4d6f-a169-d6fed478b298" providerId="ADAL" clId="{433777DD-36E3-4B34-8224-1BC3743E0991}" dt="2024-08-21T14:29:46.391" v="717" actId="478"/>
          <ac:graphicFrameMkLst>
            <pc:docMk/>
            <pc:sldMk cId="2519451100" sldId="475"/>
            <ac:graphicFrameMk id="26" creationId="{C2449E5B-6DC8-A084-8CA5-E89C88BA5DF7}"/>
          </ac:graphicFrameMkLst>
        </pc:graphicFrameChg>
        <pc:picChg chg="add del mod ord">
          <ac:chgData name="C.M, Roja" userId="3f7d0bc6-dbf6-4d6f-a169-d6fed478b298" providerId="ADAL" clId="{433777DD-36E3-4B34-8224-1BC3743E0991}" dt="2024-08-21T14:31:28.147" v="729" actId="478"/>
          <ac:picMkLst>
            <pc:docMk/>
            <pc:sldMk cId="2519451100" sldId="475"/>
            <ac:picMk id="31" creationId="{3EC155E8-6DE9-CB02-AFFF-6C70AB0A9DE0}"/>
          </ac:picMkLst>
        </pc:picChg>
      </pc:sldChg>
      <pc:sldChg chg="addSp delSp modSp new mod ord modClrScheme chgLayout modNotesTx">
        <pc:chgData name="C.M, Roja" userId="3f7d0bc6-dbf6-4d6f-a169-d6fed478b298" providerId="ADAL" clId="{433777DD-36E3-4B34-8224-1BC3743E0991}" dt="2024-10-01T07:13:12.458" v="2944" actId="1038"/>
        <pc:sldMkLst>
          <pc:docMk/>
          <pc:sldMk cId="736382978" sldId="476"/>
        </pc:sldMkLst>
        <pc:spChg chg="add del">
          <ac:chgData name="C.M, Roja" userId="3f7d0bc6-dbf6-4d6f-a169-d6fed478b298" providerId="ADAL" clId="{433777DD-36E3-4B34-8224-1BC3743E0991}" dt="2024-08-21T14:34:03.916" v="742" actId="26606"/>
          <ac:spMkLst>
            <pc:docMk/>
            <pc:sldMk cId="736382978" sldId="476"/>
            <ac:spMk id="2" creationId="{2ABCE74A-D53A-0256-14DB-498BEE106B2B}"/>
          </ac:spMkLst>
        </pc:spChg>
        <pc:spChg chg="add del">
          <ac:chgData name="C.M, Roja" userId="3f7d0bc6-dbf6-4d6f-a169-d6fed478b298" providerId="ADAL" clId="{433777DD-36E3-4B34-8224-1BC3743E0991}" dt="2024-08-21T14:34:03.916" v="742" actId="26606"/>
          <ac:spMkLst>
            <pc:docMk/>
            <pc:sldMk cId="736382978" sldId="476"/>
            <ac:spMk id="3" creationId="{38ABF9EB-B3DC-F4EC-911F-B7D3A8DDE1ED}"/>
          </ac:spMkLst>
        </pc:spChg>
        <pc:spChg chg="add del">
          <ac:chgData name="C.M, Roja" userId="3f7d0bc6-dbf6-4d6f-a169-d6fed478b298" providerId="ADAL" clId="{433777DD-36E3-4B34-8224-1BC3743E0991}" dt="2024-08-21T14:34:03.916" v="742" actId="26606"/>
          <ac:spMkLst>
            <pc:docMk/>
            <pc:sldMk cId="736382978" sldId="476"/>
            <ac:spMk id="4" creationId="{119F93B0-82B8-3919-6439-7839832CB90C}"/>
          </ac:spMkLst>
        </pc:spChg>
        <pc:spChg chg="add del mod">
          <ac:chgData name="C.M, Roja" userId="3f7d0bc6-dbf6-4d6f-a169-d6fed478b298" providerId="ADAL" clId="{433777DD-36E3-4B34-8224-1BC3743E0991}" dt="2024-08-21T14:34:03.900" v="741" actId="26606"/>
          <ac:spMkLst>
            <pc:docMk/>
            <pc:sldMk cId="736382978" sldId="476"/>
            <ac:spMk id="11" creationId="{5690A485-723A-DE03-1913-9961B55907D4}"/>
          </ac:spMkLst>
        </pc:spChg>
        <pc:spChg chg="add del mod">
          <ac:chgData name="C.M, Roja" userId="3f7d0bc6-dbf6-4d6f-a169-d6fed478b298" providerId="ADAL" clId="{433777DD-36E3-4B34-8224-1BC3743E0991}" dt="2024-08-21T14:34:03.900" v="741" actId="26606"/>
          <ac:spMkLst>
            <pc:docMk/>
            <pc:sldMk cId="736382978" sldId="476"/>
            <ac:spMk id="13" creationId="{410A1872-921D-332B-EE5E-850A951FCE20}"/>
          </ac:spMkLst>
        </pc:spChg>
        <pc:spChg chg="add mod">
          <ac:chgData name="C.M, Roja" userId="3f7d0bc6-dbf6-4d6f-a169-d6fed478b298" providerId="ADAL" clId="{433777DD-36E3-4B34-8224-1BC3743E0991}" dt="2024-08-27T14:15:16.634" v="2193" actId="20577"/>
          <ac:spMkLst>
            <pc:docMk/>
            <pc:sldMk cId="736382978" sldId="476"/>
            <ac:spMk id="15" creationId="{FCC0A695-9F39-0DA1-F252-00FFF76C6228}"/>
          </ac:spMkLst>
        </pc:spChg>
        <pc:spChg chg="add del">
          <ac:chgData name="C.M, Roja" userId="3f7d0bc6-dbf6-4d6f-a169-d6fed478b298" providerId="ADAL" clId="{433777DD-36E3-4B34-8224-1BC3743E0991}" dt="2024-08-21T14:34:56.690" v="779" actId="478"/>
          <ac:spMkLst>
            <pc:docMk/>
            <pc:sldMk cId="736382978" sldId="476"/>
            <ac:spMk id="16" creationId="{12DF88B4-A5F1-B123-2DC1-FB95EFEA2464}"/>
          </ac:spMkLst>
        </pc:spChg>
        <pc:graphicFrameChg chg="add mod">
          <ac:chgData name="C.M, Roja" userId="3f7d0bc6-dbf6-4d6f-a169-d6fed478b298" providerId="ADAL" clId="{433777DD-36E3-4B34-8224-1BC3743E0991}" dt="2024-08-28T14:40:10.896" v="2882"/>
          <ac:graphicFrameMkLst>
            <pc:docMk/>
            <pc:sldMk cId="736382978" sldId="476"/>
            <ac:graphicFrameMk id="2" creationId="{259B0443-83D2-A230-FC7C-4CC172D2C3E7}"/>
          </ac:graphicFrameMkLst>
        </pc:graphicFrameChg>
        <pc:graphicFrameChg chg="add mod">
          <ac:chgData name="C.M, Roja" userId="3f7d0bc6-dbf6-4d6f-a169-d6fed478b298" providerId="ADAL" clId="{433777DD-36E3-4B34-8224-1BC3743E0991}" dt="2024-08-28T14:41:15.149" v="2883"/>
          <ac:graphicFrameMkLst>
            <pc:docMk/>
            <pc:sldMk cId="736382978" sldId="476"/>
            <ac:graphicFrameMk id="3" creationId="{08B0F8E7-9ED8-81E7-58E6-A067B3B9DEB9}"/>
          </ac:graphicFrameMkLst>
        </pc:graphicFrameChg>
        <pc:graphicFrameChg chg="add mod modGraphic">
          <ac:chgData name="C.M, Roja" userId="3f7d0bc6-dbf6-4d6f-a169-d6fed478b298" providerId="ADAL" clId="{433777DD-36E3-4B34-8224-1BC3743E0991}" dt="2024-10-01T07:13:12.458" v="2944" actId="1038"/>
          <ac:graphicFrameMkLst>
            <pc:docMk/>
            <pc:sldMk cId="736382978" sldId="476"/>
            <ac:graphicFrameMk id="4" creationId="{FEB74A29-A260-1B02-7CBC-0EA247584F15}"/>
          </ac:graphicFrameMkLst>
        </pc:graphicFrameChg>
        <pc:picChg chg="add del mod">
          <ac:chgData name="C.M, Roja" userId="3f7d0bc6-dbf6-4d6f-a169-d6fed478b298" providerId="ADAL" clId="{433777DD-36E3-4B34-8224-1BC3743E0991}" dt="2024-08-28T14:40:09.634" v="2881" actId="478"/>
          <ac:picMkLst>
            <pc:docMk/>
            <pc:sldMk cId="736382978" sldId="476"/>
            <ac:picMk id="6" creationId="{A70F6673-951C-A722-2AAD-75913B6EC62C}"/>
          </ac:picMkLst>
        </pc:picChg>
      </pc:sldChg>
      <pc:sldChg chg="addSp delSp modSp new del mod modClrScheme chgLayout">
        <pc:chgData name="C.M, Roja" userId="3f7d0bc6-dbf6-4d6f-a169-d6fed478b298" providerId="ADAL" clId="{433777DD-36E3-4B34-8224-1BC3743E0991}" dt="2024-08-22T07:18:15.521" v="870" actId="47"/>
        <pc:sldMkLst>
          <pc:docMk/>
          <pc:sldMk cId="4255373164" sldId="477"/>
        </pc:sldMkLst>
        <pc:spChg chg="mod">
          <ac:chgData name="C.M, Roja" userId="3f7d0bc6-dbf6-4d6f-a169-d6fed478b298" providerId="ADAL" clId="{433777DD-36E3-4B34-8224-1BC3743E0991}" dt="2024-08-22T07:17:30.823" v="860" actId="26606"/>
          <ac:spMkLst>
            <pc:docMk/>
            <pc:sldMk cId="4255373164" sldId="477"/>
            <ac:spMk id="2" creationId="{4F9B11BA-7F6A-6D05-7F50-FFF469F4E442}"/>
          </ac:spMkLst>
        </pc:spChg>
        <pc:spChg chg="del">
          <ac:chgData name="C.M, Roja" userId="3f7d0bc6-dbf6-4d6f-a169-d6fed478b298" providerId="ADAL" clId="{433777DD-36E3-4B34-8224-1BC3743E0991}" dt="2024-08-22T07:16:38.258" v="849"/>
          <ac:spMkLst>
            <pc:docMk/>
            <pc:sldMk cId="4255373164" sldId="477"/>
            <ac:spMk id="3" creationId="{2DC60041-A503-2DE4-C4F1-06EC94F137A9}"/>
          </ac:spMkLst>
        </pc:spChg>
        <pc:spChg chg="add del">
          <ac:chgData name="C.M, Roja" userId="3f7d0bc6-dbf6-4d6f-a169-d6fed478b298" providerId="ADAL" clId="{433777DD-36E3-4B34-8224-1BC3743E0991}" dt="2024-08-22T07:16:45.896" v="852" actId="478"/>
          <ac:spMkLst>
            <pc:docMk/>
            <pc:sldMk cId="4255373164" sldId="477"/>
            <ac:spMk id="4" creationId="{1D3F44FE-BB44-7EA9-9CB8-09F837CD3E6A}"/>
          </ac:spMkLst>
        </pc:spChg>
        <pc:spChg chg="add del mod">
          <ac:chgData name="C.M, Roja" userId="3f7d0bc6-dbf6-4d6f-a169-d6fed478b298" providerId="ADAL" clId="{433777DD-36E3-4B34-8224-1BC3743E0991}" dt="2024-08-22T07:17:13.593" v="855"/>
          <ac:spMkLst>
            <pc:docMk/>
            <pc:sldMk cId="4255373164" sldId="477"/>
            <ac:spMk id="7" creationId="{F43EA20D-DE47-4509-44B5-46290625CC88}"/>
          </ac:spMkLst>
        </pc:spChg>
        <pc:spChg chg="add del mod">
          <ac:chgData name="C.M, Roja" userId="3f7d0bc6-dbf6-4d6f-a169-d6fed478b298" providerId="ADAL" clId="{433777DD-36E3-4B34-8224-1BC3743E0991}" dt="2024-08-22T07:17:41.442" v="865"/>
          <ac:spMkLst>
            <pc:docMk/>
            <pc:sldMk cId="4255373164" sldId="477"/>
            <ac:spMk id="10" creationId="{9327788A-81CA-056D-D34E-495074971121}"/>
          </ac:spMkLst>
        </pc:spChg>
        <pc:spChg chg="add del mod">
          <ac:chgData name="C.M, Roja" userId="3f7d0bc6-dbf6-4d6f-a169-d6fed478b298" providerId="ADAL" clId="{433777DD-36E3-4B34-8224-1BC3743E0991}" dt="2024-08-22T07:17:52.659" v="866" actId="478"/>
          <ac:spMkLst>
            <pc:docMk/>
            <pc:sldMk cId="4255373164" sldId="477"/>
            <ac:spMk id="13" creationId="{6F4748F6-0602-87E9-18BA-29672494EFD1}"/>
          </ac:spMkLst>
        </pc:spChg>
        <pc:spChg chg="add mod">
          <ac:chgData name="C.M, Roja" userId="3f7d0bc6-dbf6-4d6f-a169-d6fed478b298" providerId="ADAL" clId="{433777DD-36E3-4B34-8224-1BC3743E0991}" dt="2024-08-22T07:17:22.174" v="858" actId="26606"/>
          <ac:spMkLst>
            <pc:docMk/>
            <pc:sldMk cId="4255373164" sldId="477"/>
            <ac:spMk id="15" creationId="{3203E3A5-F89D-8CC5-37CB-32ED972298BE}"/>
          </ac:spMkLst>
        </pc:spChg>
        <pc:spChg chg="add del">
          <ac:chgData name="C.M, Roja" userId="3f7d0bc6-dbf6-4d6f-a169-d6fed478b298" providerId="ADAL" clId="{433777DD-36E3-4B34-8224-1BC3743E0991}" dt="2024-08-22T07:17:30.823" v="860" actId="26606"/>
          <ac:spMkLst>
            <pc:docMk/>
            <pc:sldMk cId="4255373164" sldId="477"/>
            <ac:spMk id="17" creationId="{6F4748F6-0602-87E9-18BA-29672494EFD1}"/>
          </ac:spMkLst>
        </pc:spChg>
        <pc:spChg chg="add del">
          <ac:chgData name="C.M, Roja" userId="3f7d0bc6-dbf6-4d6f-a169-d6fed478b298" providerId="ADAL" clId="{433777DD-36E3-4B34-8224-1BC3743E0991}" dt="2024-08-22T07:17:30.823" v="860" actId="26606"/>
          <ac:spMkLst>
            <pc:docMk/>
            <pc:sldMk cId="4255373164" sldId="477"/>
            <ac:spMk id="18" creationId="{3203E3A5-F89D-8CC5-37CB-32ED972298BE}"/>
          </ac:spMkLst>
        </pc:spChg>
        <pc:graphicFrameChg chg="add del mod modGraphic">
          <ac:chgData name="C.M, Roja" userId="3f7d0bc6-dbf6-4d6f-a169-d6fed478b298" providerId="ADAL" clId="{433777DD-36E3-4B34-8224-1BC3743E0991}" dt="2024-08-22T07:16:50.312" v="854" actId="478"/>
          <ac:graphicFrameMkLst>
            <pc:docMk/>
            <pc:sldMk cId="4255373164" sldId="477"/>
            <ac:graphicFrameMk id="5" creationId="{03890480-8EC3-566B-4CCE-7493DCD46CF3}"/>
          </ac:graphicFrameMkLst>
        </pc:graphicFrameChg>
        <pc:graphicFrameChg chg="add del mod modGraphic">
          <ac:chgData name="C.M, Roja" userId="3f7d0bc6-dbf6-4d6f-a169-d6fed478b298" providerId="ADAL" clId="{433777DD-36E3-4B34-8224-1BC3743E0991}" dt="2024-08-22T07:17:39.820" v="863" actId="478"/>
          <ac:graphicFrameMkLst>
            <pc:docMk/>
            <pc:sldMk cId="4255373164" sldId="477"/>
            <ac:graphicFrameMk id="8" creationId="{0B3F27F5-0F50-617C-BAE7-2BD662FD013A}"/>
          </ac:graphicFrameMkLst>
        </pc:graphicFrameChg>
        <pc:graphicFrameChg chg="add mod">
          <ac:chgData name="C.M, Roja" userId="3f7d0bc6-dbf6-4d6f-a169-d6fed478b298" providerId="ADAL" clId="{433777DD-36E3-4B34-8224-1BC3743E0991}" dt="2024-08-22T07:17:41.442" v="865"/>
          <ac:graphicFrameMkLst>
            <pc:docMk/>
            <pc:sldMk cId="4255373164" sldId="477"/>
            <ac:graphicFrameMk id="11" creationId="{C87B7DC2-2E76-D7EB-8CA1-92F9410AAE87}"/>
          </ac:graphicFrameMkLst>
        </pc:graphicFrameChg>
      </pc:sldChg>
      <pc:sldChg chg="addSp delSp modSp new mod modNotesTx">
        <pc:chgData name="C.M, Roja" userId="3f7d0bc6-dbf6-4d6f-a169-d6fed478b298" providerId="ADAL" clId="{433777DD-36E3-4B34-8224-1BC3743E0991}" dt="2024-08-28T14:46:07.862" v="2889" actId="14100"/>
        <pc:sldMkLst>
          <pc:docMk/>
          <pc:sldMk cId="3842149403" sldId="478"/>
        </pc:sldMkLst>
        <pc:spChg chg="mod">
          <ac:chgData name="C.M, Roja" userId="3f7d0bc6-dbf6-4d6f-a169-d6fed478b298" providerId="ADAL" clId="{433777DD-36E3-4B34-8224-1BC3743E0991}" dt="2024-08-27T14:15:28.380" v="2201" actId="20577"/>
          <ac:spMkLst>
            <pc:docMk/>
            <pc:sldMk cId="3842149403" sldId="478"/>
            <ac:spMk id="2" creationId="{80E721CA-3B28-C5F5-FDB5-A7E88CF9F262}"/>
          </ac:spMkLst>
        </pc:spChg>
        <pc:spChg chg="del">
          <ac:chgData name="C.M, Roja" userId="3f7d0bc6-dbf6-4d6f-a169-d6fed478b298" providerId="ADAL" clId="{433777DD-36E3-4B34-8224-1BC3743E0991}" dt="2024-08-22T07:18:48.299" v="871"/>
          <ac:spMkLst>
            <pc:docMk/>
            <pc:sldMk cId="3842149403" sldId="478"/>
            <ac:spMk id="3" creationId="{2722369C-77CD-9FCA-DAD0-7D524AD29251}"/>
          </ac:spMkLst>
        </pc:spChg>
        <pc:spChg chg="del">
          <ac:chgData name="C.M, Roja" userId="3f7d0bc6-dbf6-4d6f-a169-d6fed478b298" providerId="ADAL" clId="{433777DD-36E3-4B34-8224-1BC3743E0991}" dt="2024-08-22T07:18:12.797" v="869" actId="478"/>
          <ac:spMkLst>
            <pc:docMk/>
            <pc:sldMk cId="3842149403" sldId="478"/>
            <ac:spMk id="4" creationId="{446D342A-938A-5E87-80E8-1E1848DCA8F1}"/>
          </ac:spMkLst>
        </pc:spChg>
        <pc:spChg chg="add del mod">
          <ac:chgData name="C.M, Roja" userId="3f7d0bc6-dbf6-4d6f-a169-d6fed478b298" providerId="ADAL" clId="{433777DD-36E3-4B34-8224-1BC3743E0991}" dt="2024-08-28T14:45:51.170" v="2888"/>
          <ac:spMkLst>
            <pc:docMk/>
            <pc:sldMk cId="3842149403" sldId="478"/>
            <ac:spMk id="4" creationId="{4893D00D-3E3A-5F90-038B-66F2B002136F}"/>
          </ac:spMkLst>
        </pc:spChg>
        <pc:graphicFrameChg chg="add del mod modGraphic">
          <ac:chgData name="C.M, Roja" userId="3f7d0bc6-dbf6-4d6f-a169-d6fed478b298" providerId="ADAL" clId="{433777DD-36E3-4B34-8224-1BC3743E0991}" dt="2024-08-28T14:43:00.879" v="2887" actId="478"/>
          <ac:graphicFrameMkLst>
            <pc:docMk/>
            <pc:sldMk cId="3842149403" sldId="478"/>
            <ac:graphicFrameMk id="5" creationId="{FF1F1655-D3A2-C11E-2693-922608F985C3}"/>
          </ac:graphicFrameMkLst>
        </pc:graphicFrameChg>
        <pc:graphicFrameChg chg="add mod modGraphic">
          <ac:chgData name="C.M, Roja" userId="3f7d0bc6-dbf6-4d6f-a169-d6fed478b298" providerId="ADAL" clId="{433777DD-36E3-4B34-8224-1BC3743E0991}" dt="2024-08-28T14:46:07.862" v="2889" actId="14100"/>
          <ac:graphicFrameMkLst>
            <pc:docMk/>
            <pc:sldMk cId="3842149403" sldId="478"/>
            <ac:graphicFrameMk id="6" creationId="{43C09F5F-20E7-8C22-C669-61E5758BD953}"/>
          </ac:graphicFrameMkLst>
        </pc:graphicFrameChg>
      </pc:sldChg>
      <pc:sldChg chg="addSp delSp modSp new mod">
        <pc:chgData name="C.M, Roja" userId="3f7d0bc6-dbf6-4d6f-a169-d6fed478b298" providerId="ADAL" clId="{433777DD-36E3-4B34-8224-1BC3743E0991}" dt="2024-08-28T14:50:17.003" v="2918" actId="14100"/>
        <pc:sldMkLst>
          <pc:docMk/>
          <pc:sldMk cId="2553895418" sldId="479"/>
        </pc:sldMkLst>
        <pc:spChg chg="mod">
          <ac:chgData name="C.M, Roja" userId="3f7d0bc6-dbf6-4d6f-a169-d6fed478b298" providerId="ADAL" clId="{433777DD-36E3-4B34-8224-1BC3743E0991}" dt="2024-08-28T14:46:53.300" v="2894" actId="20577"/>
          <ac:spMkLst>
            <pc:docMk/>
            <pc:sldMk cId="2553895418" sldId="479"/>
            <ac:spMk id="2" creationId="{1CD914B4-0C7C-B8B3-CE43-998CF73F3D26}"/>
          </ac:spMkLst>
        </pc:spChg>
        <pc:spChg chg="del">
          <ac:chgData name="C.M, Roja" userId="3f7d0bc6-dbf6-4d6f-a169-d6fed478b298" providerId="ADAL" clId="{433777DD-36E3-4B34-8224-1BC3743E0991}" dt="2024-08-22T08:01:51.828" v="895"/>
          <ac:spMkLst>
            <pc:docMk/>
            <pc:sldMk cId="2553895418" sldId="479"/>
            <ac:spMk id="3" creationId="{BB61858D-C5FC-35FD-E912-45258A8BAD2A}"/>
          </ac:spMkLst>
        </pc:spChg>
        <pc:spChg chg="add del">
          <ac:chgData name="C.M, Roja" userId="3f7d0bc6-dbf6-4d6f-a169-d6fed478b298" providerId="ADAL" clId="{433777DD-36E3-4B34-8224-1BC3743E0991}" dt="2024-08-22T08:02:45.820" v="902" actId="478"/>
          <ac:spMkLst>
            <pc:docMk/>
            <pc:sldMk cId="2553895418" sldId="479"/>
            <ac:spMk id="4" creationId="{103101D9-00FB-A86A-4090-0BCC6EF26D52}"/>
          </ac:spMkLst>
        </pc:spChg>
        <pc:spChg chg="add del mod">
          <ac:chgData name="C.M, Roja" userId="3f7d0bc6-dbf6-4d6f-a169-d6fed478b298" providerId="ADAL" clId="{433777DD-36E3-4B34-8224-1BC3743E0991}" dt="2024-08-28T14:48:48.285" v="2899"/>
          <ac:spMkLst>
            <pc:docMk/>
            <pc:sldMk cId="2553895418" sldId="479"/>
            <ac:spMk id="4" creationId="{452AFB1E-970A-48F1-EF4B-FD161EE515C3}"/>
          </ac:spMkLst>
        </pc:spChg>
        <pc:spChg chg="add del mod">
          <ac:chgData name="C.M, Roja" userId="3f7d0bc6-dbf6-4d6f-a169-d6fed478b298" providerId="ADAL" clId="{433777DD-36E3-4B34-8224-1BC3743E0991}" dt="2024-08-22T08:02:42.299" v="901"/>
          <ac:spMkLst>
            <pc:docMk/>
            <pc:sldMk cId="2553895418" sldId="479"/>
            <ac:spMk id="7" creationId="{4FF2D978-C673-511D-BE49-A5EC74828051}"/>
          </ac:spMkLst>
        </pc:spChg>
        <pc:graphicFrameChg chg="add del mod">
          <ac:chgData name="C.M, Roja" userId="3f7d0bc6-dbf6-4d6f-a169-d6fed478b298" providerId="ADAL" clId="{433777DD-36E3-4B34-8224-1BC3743E0991}" dt="2024-08-22T08:02:01.058" v="898" actId="478"/>
          <ac:graphicFrameMkLst>
            <pc:docMk/>
            <pc:sldMk cId="2553895418" sldId="479"/>
            <ac:graphicFrameMk id="5" creationId="{5798855E-7F10-CACB-A652-F68131948FB4}"/>
          </ac:graphicFrameMkLst>
        </pc:graphicFrameChg>
        <pc:graphicFrameChg chg="add mod">
          <ac:chgData name="C.M, Roja" userId="3f7d0bc6-dbf6-4d6f-a169-d6fed478b298" providerId="ADAL" clId="{433777DD-36E3-4B34-8224-1BC3743E0991}" dt="2024-08-28T14:48:23.626" v="2896"/>
          <ac:graphicFrameMkLst>
            <pc:docMk/>
            <pc:sldMk cId="2553895418" sldId="479"/>
            <ac:graphicFrameMk id="5" creationId="{642C23FB-44ED-234F-E302-D7975B85134E}"/>
          </ac:graphicFrameMkLst>
        </pc:graphicFrameChg>
        <pc:graphicFrameChg chg="add mod">
          <ac:chgData name="C.M, Roja" userId="3f7d0bc6-dbf6-4d6f-a169-d6fed478b298" providerId="ADAL" clId="{433777DD-36E3-4B34-8224-1BC3743E0991}" dt="2024-08-28T14:48:39.114" v="2898"/>
          <ac:graphicFrameMkLst>
            <pc:docMk/>
            <pc:sldMk cId="2553895418" sldId="479"/>
            <ac:graphicFrameMk id="6" creationId="{2F263FD1-E6CE-4BFA-E0A6-5D29251403A5}"/>
          </ac:graphicFrameMkLst>
        </pc:graphicFrameChg>
        <pc:graphicFrameChg chg="add mod modGraphic">
          <ac:chgData name="C.M, Roja" userId="3f7d0bc6-dbf6-4d6f-a169-d6fed478b298" providerId="ADAL" clId="{433777DD-36E3-4B34-8224-1BC3743E0991}" dt="2024-08-28T14:50:17.003" v="2918" actId="14100"/>
          <ac:graphicFrameMkLst>
            <pc:docMk/>
            <pc:sldMk cId="2553895418" sldId="479"/>
            <ac:graphicFrameMk id="7" creationId="{2130EB54-E153-85DC-A6D5-D66665FAFB85}"/>
          </ac:graphicFrameMkLst>
        </pc:graphicFrameChg>
        <pc:graphicFrameChg chg="add mod">
          <ac:chgData name="C.M, Roja" userId="3f7d0bc6-dbf6-4d6f-a169-d6fed478b298" providerId="ADAL" clId="{433777DD-36E3-4B34-8224-1BC3743E0991}" dt="2024-08-22T08:02:37.584" v="900"/>
          <ac:graphicFrameMkLst>
            <pc:docMk/>
            <pc:sldMk cId="2553895418" sldId="479"/>
            <ac:graphicFrameMk id="8" creationId="{FD376646-ACEC-0A5E-9E32-7D5D682BE66F}"/>
          </ac:graphicFrameMkLst>
        </pc:graphicFrameChg>
        <pc:graphicFrameChg chg="add del mod modGraphic">
          <ac:chgData name="C.M, Roja" userId="3f7d0bc6-dbf6-4d6f-a169-d6fed478b298" providerId="ADAL" clId="{433777DD-36E3-4B34-8224-1BC3743E0991}" dt="2024-08-28T14:46:51.127" v="2892" actId="478"/>
          <ac:graphicFrameMkLst>
            <pc:docMk/>
            <pc:sldMk cId="2553895418" sldId="479"/>
            <ac:graphicFrameMk id="9" creationId="{3870CDE1-1CAB-9323-1694-2DC90C3368EC}"/>
          </ac:graphicFrameMkLst>
        </pc:graphicFrameChg>
      </pc:sldChg>
      <pc:sldChg chg="delSp modSp new mod">
        <pc:chgData name="C.M, Roja" userId="3f7d0bc6-dbf6-4d6f-a169-d6fed478b298" providerId="ADAL" clId="{433777DD-36E3-4B34-8224-1BC3743E0991}" dt="2024-10-08T14:10:17.500" v="3727" actId="20577"/>
        <pc:sldMkLst>
          <pc:docMk/>
          <pc:sldMk cId="3203667423" sldId="480"/>
        </pc:sldMkLst>
        <pc:spChg chg="mod">
          <ac:chgData name="C.M, Roja" userId="3f7d0bc6-dbf6-4d6f-a169-d6fed478b298" providerId="ADAL" clId="{433777DD-36E3-4B34-8224-1BC3743E0991}" dt="2024-08-23T14:52:39.608" v="1617" actId="20577"/>
          <ac:spMkLst>
            <pc:docMk/>
            <pc:sldMk cId="3203667423" sldId="480"/>
            <ac:spMk id="2" creationId="{2653BCF3-2684-44C9-9376-7D3BE4475286}"/>
          </ac:spMkLst>
        </pc:spChg>
        <pc:spChg chg="mod">
          <ac:chgData name="C.M, Roja" userId="3f7d0bc6-dbf6-4d6f-a169-d6fed478b298" providerId="ADAL" clId="{433777DD-36E3-4B34-8224-1BC3743E0991}" dt="2024-10-08T14:10:17.500" v="3727" actId="20577"/>
          <ac:spMkLst>
            <pc:docMk/>
            <pc:sldMk cId="3203667423" sldId="480"/>
            <ac:spMk id="3" creationId="{40F72FFD-F0A5-C901-6076-591E3F5213A7}"/>
          </ac:spMkLst>
        </pc:spChg>
        <pc:spChg chg="del">
          <ac:chgData name="C.M, Roja" userId="3f7d0bc6-dbf6-4d6f-a169-d6fed478b298" providerId="ADAL" clId="{433777DD-36E3-4B34-8224-1BC3743E0991}" dt="2024-08-22T13:53:44.142" v="1083" actId="478"/>
          <ac:spMkLst>
            <pc:docMk/>
            <pc:sldMk cId="3203667423" sldId="480"/>
            <ac:spMk id="4" creationId="{285305DE-49AB-AD6B-51AE-768F5C40EF0C}"/>
          </ac:spMkLst>
        </pc:spChg>
      </pc:sldChg>
      <pc:sldChg chg="modSp new mod">
        <pc:chgData name="C.M, Roja" userId="3f7d0bc6-dbf6-4d6f-a169-d6fed478b298" providerId="ADAL" clId="{433777DD-36E3-4B34-8224-1BC3743E0991}" dt="2024-08-27T14:03:26.488" v="2154" actId="20577"/>
        <pc:sldMkLst>
          <pc:docMk/>
          <pc:sldMk cId="1805609770" sldId="481"/>
        </pc:sldMkLst>
        <pc:spChg chg="mod">
          <ac:chgData name="C.M, Roja" userId="3f7d0bc6-dbf6-4d6f-a169-d6fed478b298" providerId="ADAL" clId="{433777DD-36E3-4B34-8224-1BC3743E0991}" dt="2024-08-27T13:58:28.951" v="1903" actId="20577"/>
          <ac:spMkLst>
            <pc:docMk/>
            <pc:sldMk cId="1805609770" sldId="481"/>
            <ac:spMk id="2" creationId="{8FE5C2D1-B1F4-E755-BD74-A9482A530DBD}"/>
          </ac:spMkLst>
        </pc:spChg>
        <pc:spChg chg="mod">
          <ac:chgData name="C.M, Roja" userId="3f7d0bc6-dbf6-4d6f-a169-d6fed478b298" providerId="ADAL" clId="{433777DD-36E3-4B34-8224-1BC3743E0991}" dt="2024-08-27T14:03:26.488" v="2154" actId="20577"/>
          <ac:spMkLst>
            <pc:docMk/>
            <pc:sldMk cId="1805609770" sldId="481"/>
            <ac:spMk id="3" creationId="{AD713396-23CC-8EF9-57D7-9001A2E7DB56}"/>
          </ac:spMkLst>
        </pc:spChg>
      </pc:sldChg>
      <pc:sldChg chg="addSp delSp modSp new mod modNotesTx">
        <pc:chgData name="C.M, Roja" userId="3f7d0bc6-dbf6-4d6f-a169-d6fed478b298" providerId="ADAL" clId="{433777DD-36E3-4B34-8224-1BC3743E0991}" dt="2024-10-08T14:13:01.651" v="3776" actId="20577"/>
        <pc:sldMkLst>
          <pc:docMk/>
          <pc:sldMk cId="1566295349" sldId="482"/>
        </pc:sldMkLst>
        <pc:spChg chg="mod">
          <ac:chgData name="C.M, Roja" userId="3f7d0bc6-dbf6-4d6f-a169-d6fed478b298" providerId="ADAL" clId="{433777DD-36E3-4B34-8224-1BC3743E0991}" dt="2024-08-28T12:06:06.606" v="2304" actId="20577"/>
          <ac:spMkLst>
            <pc:docMk/>
            <pc:sldMk cId="1566295349" sldId="482"/>
            <ac:spMk id="2" creationId="{23EBF5DD-3273-B21A-A7E6-DB76A6C99587}"/>
          </ac:spMkLst>
        </pc:spChg>
        <pc:spChg chg="mod">
          <ac:chgData name="C.M, Roja" userId="3f7d0bc6-dbf6-4d6f-a169-d6fed478b298" providerId="ADAL" clId="{433777DD-36E3-4B34-8224-1BC3743E0991}" dt="2024-08-28T12:57:01.524" v="2763" actId="15"/>
          <ac:spMkLst>
            <pc:docMk/>
            <pc:sldMk cId="1566295349" sldId="482"/>
            <ac:spMk id="3" creationId="{90900C59-9F1F-5E61-73F7-B65740A46FFA}"/>
          </ac:spMkLst>
        </pc:spChg>
        <pc:spChg chg="del">
          <ac:chgData name="C.M, Roja" userId="3f7d0bc6-dbf6-4d6f-a169-d6fed478b298" providerId="ADAL" clId="{433777DD-36E3-4B34-8224-1BC3743E0991}" dt="2024-08-28T12:07:44.051" v="2305" actId="478"/>
          <ac:spMkLst>
            <pc:docMk/>
            <pc:sldMk cId="1566295349" sldId="482"/>
            <ac:spMk id="4" creationId="{49AC61DB-4096-D256-623A-8C42D754386E}"/>
          </ac:spMkLst>
        </pc:spChg>
        <pc:spChg chg="add">
          <ac:chgData name="C.M, Roja" userId="3f7d0bc6-dbf6-4d6f-a169-d6fed478b298" providerId="ADAL" clId="{433777DD-36E3-4B34-8224-1BC3743E0991}" dt="2024-08-28T12:19:37.990" v="2321"/>
          <ac:spMkLst>
            <pc:docMk/>
            <pc:sldMk cId="1566295349" sldId="482"/>
            <ac:spMk id="5" creationId="{FFCA269D-F7CB-E19D-5208-C1E2918C7AAC}"/>
          </ac:spMkLst>
        </pc:spChg>
        <pc:spChg chg="add">
          <ac:chgData name="C.M, Roja" userId="3f7d0bc6-dbf6-4d6f-a169-d6fed478b298" providerId="ADAL" clId="{433777DD-36E3-4B34-8224-1BC3743E0991}" dt="2024-08-28T12:23:03.027" v="2631"/>
          <ac:spMkLst>
            <pc:docMk/>
            <pc:sldMk cId="1566295349" sldId="482"/>
            <ac:spMk id="6" creationId="{148B64A9-143A-A4A0-9CE3-4320A78662A2}"/>
          </ac:spMkLst>
        </pc:spChg>
        <pc:graphicFrameChg chg="add del mod modGraphic">
          <ac:chgData name="C.M, Roja" userId="3f7d0bc6-dbf6-4d6f-a169-d6fed478b298" providerId="ADAL" clId="{433777DD-36E3-4B34-8224-1BC3743E0991}" dt="2024-08-28T12:53:20.126" v="2681" actId="478"/>
          <ac:graphicFrameMkLst>
            <pc:docMk/>
            <pc:sldMk cId="1566295349" sldId="482"/>
            <ac:graphicFrameMk id="7" creationId="{B8D46229-CD4E-11AE-C881-F10F799B0E08}"/>
          </ac:graphicFrameMkLst>
        </pc:graphicFrameChg>
        <pc:graphicFrameChg chg="add mod modGraphic">
          <ac:chgData name="C.M, Roja" userId="3f7d0bc6-dbf6-4d6f-a169-d6fed478b298" providerId="ADAL" clId="{433777DD-36E3-4B34-8224-1BC3743E0991}" dt="2024-08-29T09:55:58.982" v="2941" actId="20577"/>
          <ac:graphicFrameMkLst>
            <pc:docMk/>
            <pc:sldMk cId="1566295349" sldId="482"/>
            <ac:graphicFrameMk id="8" creationId="{368874D5-189E-F6DB-3E49-A852F31A80FC}"/>
          </ac:graphicFrameMkLst>
        </pc:graphicFrameChg>
      </pc:sldChg>
      <pc:sldChg chg="addSp delSp modSp new mod modClrScheme chgLayout modNotesTx">
        <pc:chgData name="C.M, Roja" userId="3f7d0bc6-dbf6-4d6f-a169-d6fed478b298" providerId="ADAL" clId="{433777DD-36E3-4B34-8224-1BC3743E0991}" dt="2024-08-28T14:46:14.131" v="2890" actId="478"/>
        <pc:sldMkLst>
          <pc:docMk/>
          <pc:sldMk cId="3695154592" sldId="483"/>
        </pc:sldMkLst>
        <pc:spChg chg="add del">
          <ac:chgData name="C.M, Roja" userId="3f7d0bc6-dbf6-4d6f-a169-d6fed478b298" providerId="ADAL" clId="{433777DD-36E3-4B34-8224-1BC3743E0991}" dt="2024-08-28T13:00:25.996" v="2772" actId="26606"/>
          <ac:spMkLst>
            <pc:docMk/>
            <pc:sldMk cId="3695154592" sldId="483"/>
            <ac:spMk id="2" creationId="{9BDA2749-C282-3186-21D9-F18F131EC836}"/>
          </ac:spMkLst>
        </pc:spChg>
        <pc:spChg chg="del">
          <ac:chgData name="C.M, Roja" userId="3f7d0bc6-dbf6-4d6f-a169-d6fed478b298" providerId="ADAL" clId="{433777DD-36E3-4B34-8224-1BC3743E0991}" dt="2024-08-28T12:59:43.555" v="2765"/>
          <ac:spMkLst>
            <pc:docMk/>
            <pc:sldMk cId="3695154592" sldId="483"/>
            <ac:spMk id="3" creationId="{1BD42292-A756-88D4-69FD-D11CE0F151ED}"/>
          </ac:spMkLst>
        </pc:spChg>
        <pc:spChg chg="add del">
          <ac:chgData name="C.M, Roja" userId="3f7d0bc6-dbf6-4d6f-a169-d6fed478b298" providerId="ADAL" clId="{433777DD-36E3-4B34-8224-1BC3743E0991}" dt="2024-08-28T13:00:25.996" v="2772" actId="26606"/>
          <ac:spMkLst>
            <pc:docMk/>
            <pc:sldMk cId="3695154592" sldId="483"/>
            <ac:spMk id="4" creationId="{017580B1-86EF-E759-AC0F-F542DBE13ED5}"/>
          </ac:spMkLst>
        </pc:spChg>
        <pc:spChg chg="add del mod">
          <ac:chgData name="C.M, Roja" userId="3f7d0bc6-dbf6-4d6f-a169-d6fed478b298" providerId="ADAL" clId="{433777DD-36E3-4B34-8224-1BC3743E0991}" dt="2024-08-28T13:00:11.298" v="2768"/>
          <ac:spMkLst>
            <pc:docMk/>
            <pc:sldMk cId="3695154592" sldId="483"/>
            <ac:spMk id="7" creationId="{A3DF14AF-D247-A137-A6EE-17B49AE5245F}"/>
          </ac:spMkLst>
        </pc:spChg>
        <pc:spChg chg="add del mod">
          <ac:chgData name="C.M, Roja" userId="3f7d0bc6-dbf6-4d6f-a169-d6fed478b298" providerId="ADAL" clId="{433777DD-36E3-4B34-8224-1BC3743E0991}" dt="2024-08-28T13:00:25.944" v="2771" actId="26606"/>
          <ac:spMkLst>
            <pc:docMk/>
            <pc:sldMk cId="3695154592" sldId="483"/>
            <ac:spMk id="13" creationId="{87BFB418-D9B9-A24F-FF56-EAAE456D6987}"/>
          </ac:spMkLst>
        </pc:spChg>
        <pc:spChg chg="add del mod">
          <ac:chgData name="C.M, Roja" userId="3f7d0bc6-dbf6-4d6f-a169-d6fed478b298" providerId="ADAL" clId="{433777DD-36E3-4B34-8224-1BC3743E0991}" dt="2024-08-28T13:00:25.944" v="2771" actId="26606"/>
          <ac:spMkLst>
            <pc:docMk/>
            <pc:sldMk cId="3695154592" sldId="483"/>
            <ac:spMk id="15" creationId="{81246CAB-3FEE-B937-22D5-D6EDBB1142FD}"/>
          </ac:spMkLst>
        </pc:spChg>
        <pc:spChg chg="add mod">
          <ac:chgData name="C.M, Roja" userId="3f7d0bc6-dbf6-4d6f-a169-d6fed478b298" providerId="ADAL" clId="{433777DD-36E3-4B34-8224-1BC3743E0991}" dt="2024-08-28T13:00:42.742" v="2775" actId="20577"/>
          <ac:spMkLst>
            <pc:docMk/>
            <pc:sldMk cId="3695154592" sldId="483"/>
            <ac:spMk id="17" creationId="{E86B2C5A-8D1C-2610-0367-4E8B056D7D2A}"/>
          </ac:spMkLst>
        </pc:spChg>
        <pc:spChg chg="add del">
          <ac:chgData name="C.M, Roja" userId="3f7d0bc6-dbf6-4d6f-a169-d6fed478b298" providerId="ADAL" clId="{433777DD-36E3-4B34-8224-1BC3743E0991}" dt="2024-08-28T14:46:14.131" v="2890" actId="478"/>
          <ac:spMkLst>
            <pc:docMk/>
            <pc:sldMk cId="3695154592" sldId="483"/>
            <ac:spMk id="18" creationId="{A7CE433E-F9D6-7C93-15D7-AFA4923F05A9}"/>
          </ac:spMkLst>
        </pc:spChg>
        <pc:graphicFrameChg chg="add del mod modGraphic">
          <ac:chgData name="C.M, Roja" userId="3f7d0bc6-dbf6-4d6f-a169-d6fed478b298" providerId="ADAL" clId="{433777DD-36E3-4B34-8224-1BC3743E0991}" dt="2024-08-28T12:59:59.421" v="2767" actId="478"/>
          <ac:graphicFrameMkLst>
            <pc:docMk/>
            <pc:sldMk cId="3695154592" sldId="483"/>
            <ac:graphicFrameMk id="5" creationId="{465C8FAA-CBCB-8198-D07D-9C53F9518E8C}"/>
          </ac:graphicFrameMkLst>
        </pc:graphicFrameChg>
        <pc:graphicFrameChg chg="add mod modGraphic">
          <ac:chgData name="C.M, Roja" userId="3f7d0bc6-dbf6-4d6f-a169-d6fed478b298" providerId="ADAL" clId="{433777DD-36E3-4B34-8224-1BC3743E0991}" dt="2024-08-28T14:37:29.346" v="2880" actId="14100"/>
          <ac:graphicFrameMkLst>
            <pc:docMk/>
            <pc:sldMk cId="3695154592" sldId="483"/>
            <ac:graphicFrameMk id="8" creationId="{0D332BED-487D-3887-2A1E-BBE45DCF52AC}"/>
          </ac:graphicFrameMkLst>
        </pc:graphicFrameChg>
      </pc:sldChg>
      <pc:sldChg chg="addSp delSp modSp new mod modNotesTx">
        <pc:chgData name="C.M, Roja" userId="3f7d0bc6-dbf6-4d6f-a169-d6fed478b298" providerId="ADAL" clId="{433777DD-36E3-4B34-8224-1BC3743E0991}" dt="2024-08-28T14:36:17.262" v="2878" actId="478"/>
        <pc:sldMkLst>
          <pc:docMk/>
          <pc:sldMk cId="1464147314" sldId="484"/>
        </pc:sldMkLst>
        <pc:spChg chg="mod">
          <ac:chgData name="C.M, Roja" userId="3f7d0bc6-dbf6-4d6f-a169-d6fed478b298" providerId="ADAL" clId="{433777DD-36E3-4B34-8224-1BC3743E0991}" dt="2024-08-28T13:22:02.231" v="2806" actId="20577"/>
          <ac:spMkLst>
            <pc:docMk/>
            <pc:sldMk cId="1464147314" sldId="484"/>
            <ac:spMk id="2" creationId="{20E91498-5A59-C372-3811-12C43A6FC3FB}"/>
          </ac:spMkLst>
        </pc:spChg>
        <pc:spChg chg="del">
          <ac:chgData name="C.M, Roja" userId="3f7d0bc6-dbf6-4d6f-a169-d6fed478b298" providerId="ADAL" clId="{433777DD-36E3-4B34-8224-1BC3743E0991}" dt="2024-08-28T13:21:41.643" v="2801"/>
          <ac:spMkLst>
            <pc:docMk/>
            <pc:sldMk cId="1464147314" sldId="484"/>
            <ac:spMk id="3" creationId="{C33C7F8A-3C38-5A1D-C95B-000C13C0C360}"/>
          </ac:spMkLst>
        </pc:spChg>
        <pc:spChg chg="del">
          <ac:chgData name="C.M, Roja" userId="3f7d0bc6-dbf6-4d6f-a169-d6fed478b298" providerId="ADAL" clId="{433777DD-36E3-4B34-8224-1BC3743E0991}" dt="2024-08-28T14:36:17.262" v="2878" actId="478"/>
          <ac:spMkLst>
            <pc:docMk/>
            <pc:sldMk cId="1464147314" sldId="484"/>
            <ac:spMk id="4" creationId="{8C92D77B-1F1D-C8A1-E2B4-E2ABB0CA5367}"/>
          </ac:spMkLst>
        </pc:spChg>
        <pc:graphicFrameChg chg="add mod modGraphic">
          <ac:chgData name="C.M, Roja" userId="3f7d0bc6-dbf6-4d6f-a169-d6fed478b298" providerId="ADAL" clId="{433777DD-36E3-4B34-8224-1BC3743E0991}" dt="2024-08-28T14:36:12.497" v="2877" actId="14734"/>
          <ac:graphicFrameMkLst>
            <pc:docMk/>
            <pc:sldMk cId="1464147314" sldId="484"/>
            <ac:graphicFrameMk id="5" creationId="{8753EBC5-5AE1-AEDF-2775-15D904DA83D6}"/>
          </ac:graphicFrameMkLst>
        </pc:graphicFrameChg>
      </pc:sldChg>
      <pc:sldChg chg="modSp mod">
        <pc:chgData name="C.M, Roja" userId="3f7d0bc6-dbf6-4d6f-a169-d6fed478b298" providerId="ADAL" clId="{433777DD-36E3-4B34-8224-1BC3743E0991}" dt="2024-10-03T07:23:42.304" v="3060" actId="14100"/>
        <pc:sldMkLst>
          <pc:docMk/>
          <pc:sldMk cId="1711242263" sldId="485"/>
        </pc:sldMkLst>
        <pc:spChg chg="mod">
          <ac:chgData name="C.M, Roja" userId="3f7d0bc6-dbf6-4d6f-a169-d6fed478b298" providerId="ADAL" clId="{433777DD-36E3-4B34-8224-1BC3743E0991}" dt="2024-10-03T07:23:42.304" v="3060" actId="14100"/>
          <ac:spMkLst>
            <pc:docMk/>
            <pc:sldMk cId="1711242263" sldId="485"/>
            <ac:spMk id="2" creationId="{545D7F30-7D3E-A237-8014-EF659BBC3A20}"/>
          </ac:spMkLst>
        </pc:spChg>
      </pc:sldChg>
      <pc:sldChg chg="new del">
        <pc:chgData name="C.M, Roja" userId="3f7d0bc6-dbf6-4d6f-a169-d6fed478b298" providerId="ADAL" clId="{433777DD-36E3-4B34-8224-1BC3743E0991}" dt="2024-08-28T13:23:41.998" v="2828" actId="47"/>
        <pc:sldMkLst>
          <pc:docMk/>
          <pc:sldMk cId="2974253296" sldId="485"/>
        </pc:sldMkLst>
      </pc:sldChg>
      <pc:sldChg chg="addSp delSp modSp new mod">
        <pc:chgData name="C.M, Roja" userId="3f7d0bc6-dbf6-4d6f-a169-d6fed478b298" providerId="ADAL" clId="{433777DD-36E3-4B34-8224-1BC3743E0991}" dt="2024-10-07T10:20:58.307" v="3618" actId="14100"/>
        <pc:sldMkLst>
          <pc:docMk/>
          <pc:sldMk cId="3517144358" sldId="487"/>
        </pc:sldMkLst>
        <pc:spChg chg="mod">
          <ac:chgData name="C.M, Roja" userId="3f7d0bc6-dbf6-4d6f-a169-d6fed478b298" providerId="ADAL" clId="{433777DD-36E3-4B34-8224-1BC3743E0991}" dt="2024-10-07T08:10:07.730" v="3483" actId="20577"/>
          <ac:spMkLst>
            <pc:docMk/>
            <pc:sldMk cId="3517144358" sldId="487"/>
            <ac:spMk id="3" creationId="{674C8870-073C-4CC2-93A0-94924C1DB260}"/>
          </ac:spMkLst>
        </pc:spChg>
        <pc:spChg chg="del">
          <ac:chgData name="C.M, Roja" userId="3f7d0bc6-dbf6-4d6f-a169-d6fed478b298" providerId="ADAL" clId="{433777DD-36E3-4B34-8224-1BC3743E0991}" dt="2024-10-03T07:15:38.702" v="3037" actId="478"/>
          <ac:spMkLst>
            <pc:docMk/>
            <pc:sldMk cId="3517144358" sldId="487"/>
            <ac:spMk id="4" creationId="{10551FDA-73DE-D7D8-3B08-503027DB44B7}"/>
          </ac:spMkLst>
        </pc:spChg>
        <pc:picChg chg="add mod">
          <ac:chgData name="C.M, Roja" userId="3f7d0bc6-dbf6-4d6f-a169-d6fed478b298" providerId="ADAL" clId="{433777DD-36E3-4B34-8224-1BC3743E0991}" dt="2024-10-07T10:20:58.307" v="3618" actId="14100"/>
          <ac:picMkLst>
            <pc:docMk/>
            <pc:sldMk cId="3517144358" sldId="487"/>
            <ac:picMk id="5" creationId="{76B6D240-CA38-2F1F-70EF-7F5A7D2F47C3}"/>
          </ac:picMkLst>
        </pc:picChg>
      </pc:sldChg>
      <pc:sldChg chg="addSp delSp modSp new mod">
        <pc:chgData name="C.M, Roja" userId="3f7d0bc6-dbf6-4d6f-a169-d6fed478b298" providerId="ADAL" clId="{433777DD-36E3-4B34-8224-1BC3743E0991}" dt="2024-10-08T10:22:04.382" v="3676"/>
        <pc:sldMkLst>
          <pc:docMk/>
          <pc:sldMk cId="1241199703" sldId="488"/>
        </pc:sldMkLst>
        <pc:spChg chg="mod">
          <ac:chgData name="C.M, Roja" userId="3f7d0bc6-dbf6-4d6f-a169-d6fed478b298" providerId="ADAL" clId="{433777DD-36E3-4B34-8224-1BC3743E0991}" dt="2024-10-08T10:06:09.071" v="3665" actId="20577"/>
          <ac:spMkLst>
            <pc:docMk/>
            <pc:sldMk cId="1241199703" sldId="488"/>
            <ac:spMk id="2" creationId="{5700E3B0-23D5-12B8-670D-0067629E1E4C}"/>
          </ac:spMkLst>
        </pc:spChg>
        <pc:spChg chg="del">
          <ac:chgData name="C.M, Roja" userId="3f7d0bc6-dbf6-4d6f-a169-d6fed478b298" providerId="ADAL" clId="{433777DD-36E3-4B34-8224-1BC3743E0991}" dt="2024-10-03T07:21:26.925" v="3039"/>
          <ac:spMkLst>
            <pc:docMk/>
            <pc:sldMk cId="1241199703" sldId="488"/>
            <ac:spMk id="3" creationId="{07FD640F-664E-DE47-3B8C-3182AADD04A2}"/>
          </ac:spMkLst>
        </pc:spChg>
        <pc:spChg chg="add del mod">
          <ac:chgData name="C.M, Roja" userId="3f7d0bc6-dbf6-4d6f-a169-d6fed478b298" providerId="ADAL" clId="{433777DD-36E3-4B34-8224-1BC3743E0991}" dt="2024-10-08T09:48:58.729" v="3622" actId="478"/>
          <ac:spMkLst>
            <pc:docMk/>
            <pc:sldMk cId="1241199703" sldId="488"/>
            <ac:spMk id="4" creationId="{2BE190B3-D067-78E5-356B-911D5B37B849}"/>
          </ac:spMkLst>
        </pc:spChg>
        <pc:spChg chg="del">
          <ac:chgData name="C.M, Roja" userId="3f7d0bc6-dbf6-4d6f-a169-d6fed478b298" providerId="ADAL" clId="{433777DD-36E3-4B34-8224-1BC3743E0991}" dt="2024-10-03T07:21:43.326" v="3045" actId="478"/>
          <ac:spMkLst>
            <pc:docMk/>
            <pc:sldMk cId="1241199703" sldId="488"/>
            <ac:spMk id="4" creationId="{61CFB27F-F865-3FC2-2DA1-AC0274491142}"/>
          </ac:spMkLst>
        </pc:spChg>
        <pc:spChg chg="add del mod">
          <ac:chgData name="C.M, Roja" userId="3f7d0bc6-dbf6-4d6f-a169-d6fed478b298" providerId="ADAL" clId="{433777DD-36E3-4B34-8224-1BC3743E0991}" dt="2024-10-08T09:53:55.002" v="3624"/>
          <ac:spMkLst>
            <pc:docMk/>
            <pc:sldMk cId="1241199703" sldId="488"/>
            <ac:spMk id="6" creationId="{3DACECC5-4713-0ABA-FC46-D183D6A5BCBC}"/>
          </ac:spMkLst>
        </pc:spChg>
        <pc:spChg chg="add del mod">
          <ac:chgData name="C.M, Roja" userId="3f7d0bc6-dbf6-4d6f-a169-d6fed478b298" providerId="ADAL" clId="{433777DD-36E3-4B34-8224-1BC3743E0991}" dt="2024-10-03T07:44:56.511" v="3106"/>
          <ac:spMkLst>
            <pc:docMk/>
            <pc:sldMk cId="1241199703" sldId="488"/>
            <ac:spMk id="7" creationId="{A3EB366D-CF8D-3F3C-D0DA-89D1765D1A7D}"/>
          </ac:spMkLst>
        </pc:spChg>
        <pc:spChg chg="add mod">
          <ac:chgData name="C.M, Roja" userId="3f7d0bc6-dbf6-4d6f-a169-d6fed478b298" providerId="ADAL" clId="{433777DD-36E3-4B34-8224-1BC3743E0991}" dt="2024-10-08T10:15:01.201" v="3673" actId="767"/>
          <ac:spMkLst>
            <pc:docMk/>
            <pc:sldMk cId="1241199703" sldId="488"/>
            <ac:spMk id="9" creationId="{98C290EA-2592-D42D-2229-67E3F404FDDC}"/>
          </ac:spMkLst>
        </pc:spChg>
        <pc:graphicFrameChg chg="add mod">
          <ac:chgData name="C.M, Roja" userId="3f7d0bc6-dbf6-4d6f-a169-d6fed478b298" providerId="ADAL" clId="{433777DD-36E3-4B34-8224-1BC3743E0991}" dt="2024-10-08T10:22:04.382" v="3676"/>
          <ac:graphicFrameMkLst>
            <pc:docMk/>
            <pc:sldMk cId="1241199703" sldId="488"/>
            <ac:graphicFrameMk id="3" creationId="{C5B49665-7A94-7F78-C5C9-F587F5AB89F0}"/>
          </ac:graphicFrameMkLst>
        </pc:graphicFrameChg>
        <pc:graphicFrameChg chg="add del mod modGraphic">
          <ac:chgData name="C.M, Roja" userId="3f7d0bc6-dbf6-4d6f-a169-d6fed478b298" providerId="ADAL" clId="{433777DD-36E3-4B34-8224-1BC3743E0991}" dt="2024-10-03T07:41:52.366" v="3098" actId="478"/>
          <ac:graphicFrameMkLst>
            <pc:docMk/>
            <pc:sldMk cId="1241199703" sldId="488"/>
            <ac:graphicFrameMk id="5" creationId="{9E000C1F-9460-C7B3-B849-0465CC11B228}"/>
          </ac:graphicFrameMkLst>
        </pc:graphicFrameChg>
        <pc:graphicFrameChg chg="add mod modGraphic">
          <ac:chgData name="C.M, Roja" userId="3f7d0bc6-dbf6-4d6f-a169-d6fed478b298" providerId="ADAL" clId="{433777DD-36E3-4B34-8224-1BC3743E0991}" dt="2024-10-08T09:55:22.018" v="3629" actId="255"/>
          <ac:graphicFrameMkLst>
            <pc:docMk/>
            <pc:sldMk cId="1241199703" sldId="488"/>
            <ac:graphicFrameMk id="7" creationId="{BEE2C9FD-AD36-4786-7A08-0BEBB93B8063}"/>
          </ac:graphicFrameMkLst>
        </pc:graphicFrameChg>
        <pc:graphicFrameChg chg="add del mod modGraphic">
          <ac:chgData name="C.M, Roja" userId="3f7d0bc6-dbf6-4d6f-a169-d6fed478b298" providerId="ADAL" clId="{433777DD-36E3-4B34-8224-1BC3743E0991}" dt="2024-10-08T09:53:49.989" v="3623" actId="478"/>
          <ac:graphicFrameMkLst>
            <pc:docMk/>
            <pc:sldMk cId="1241199703" sldId="488"/>
            <ac:graphicFrameMk id="8" creationId="{6464CA9B-78F0-7AC6-AA9A-E1769375369F}"/>
          </ac:graphicFrameMkLst>
        </pc:graphicFrameChg>
      </pc:sldChg>
      <pc:sldChg chg="new del">
        <pc:chgData name="C.M, Roja" userId="3f7d0bc6-dbf6-4d6f-a169-d6fed478b298" providerId="ADAL" clId="{433777DD-36E3-4B34-8224-1BC3743E0991}" dt="2024-10-03T07:23:55.512" v="3062" actId="47"/>
        <pc:sldMkLst>
          <pc:docMk/>
          <pc:sldMk cId="2912472167" sldId="489"/>
        </pc:sldMkLst>
      </pc:sldChg>
      <pc:sldChg chg="addSp delSp modSp new mod">
        <pc:chgData name="C.M, Roja" userId="3f7d0bc6-dbf6-4d6f-a169-d6fed478b298" providerId="ADAL" clId="{433777DD-36E3-4B34-8224-1BC3743E0991}" dt="2024-10-08T10:12:39.841" v="3672" actId="255"/>
        <pc:sldMkLst>
          <pc:docMk/>
          <pc:sldMk cId="1630711564" sldId="490"/>
        </pc:sldMkLst>
        <pc:spChg chg="mod">
          <ac:chgData name="C.M, Roja" userId="3f7d0bc6-dbf6-4d6f-a169-d6fed478b298" providerId="ADAL" clId="{433777DD-36E3-4B34-8224-1BC3743E0991}" dt="2024-10-03T10:33:19.539" v="3129"/>
          <ac:spMkLst>
            <pc:docMk/>
            <pc:sldMk cId="1630711564" sldId="490"/>
            <ac:spMk id="2" creationId="{08CC5212-C66C-CD83-5CF6-7EAA88134303}"/>
          </ac:spMkLst>
        </pc:spChg>
        <pc:spChg chg="del">
          <ac:chgData name="C.M, Roja" userId="3f7d0bc6-dbf6-4d6f-a169-d6fed478b298" providerId="ADAL" clId="{433777DD-36E3-4B34-8224-1BC3743E0991}" dt="2024-10-03T07:39:13.163" v="3080"/>
          <ac:spMkLst>
            <pc:docMk/>
            <pc:sldMk cId="1630711564" sldId="490"/>
            <ac:spMk id="3" creationId="{3A598F21-5456-7636-ACF5-AABEDF38B8EB}"/>
          </ac:spMkLst>
        </pc:spChg>
        <pc:spChg chg="del">
          <ac:chgData name="C.M, Roja" userId="3f7d0bc6-dbf6-4d6f-a169-d6fed478b298" providerId="ADAL" clId="{433777DD-36E3-4B34-8224-1BC3743E0991}" dt="2024-10-03T07:24:31.315" v="3079" actId="478"/>
          <ac:spMkLst>
            <pc:docMk/>
            <pc:sldMk cId="1630711564" sldId="490"/>
            <ac:spMk id="4" creationId="{8C369F6E-71DC-0BB7-5732-2EC735297C4C}"/>
          </ac:spMkLst>
        </pc:spChg>
        <pc:spChg chg="add del mod">
          <ac:chgData name="C.M, Roja" userId="3f7d0bc6-dbf6-4d6f-a169-d6fed478b298" providerId="ADAL" clId="{433777DD-36E3-4B34-8224-1BC3743E0991}" dt="2024-10-08T10:12:13.179" v="3667"/>
          <ac:spMkLst>
            <pc:docMk/>
            <pc:sldMk cId="1630711564" sldId="490"/>
            <ac:spMk id="4" creationId="{9CAF9EAB-70E4-2A86-1686-A164612C01ED}"/>
          </ac:spMkLst>
        </pc:spChg>
        <pc:graphicFrameChg chg="add del mod modGraphic">
          <ac:chgData name="C.M, Roja" userId="3f7d0bc6-dbf6-4d6f-a169-d6fed478b298" providerId="ADAL" clId="{433777DD-36E3-4B34-8224-1BC3743E0991}" dt="2024-10-08T10:06:31.684" v="3666" actId="478"/>
          <ac:graphicFrameMkLst>
            <pc:docMk/>
            <pc:sldMk cId="1630711564" sldId="490"/>
            <ac:graphicFrameMk id="5" creationId="{AB7507F2-2B3B-410F-68EB-92250E51B514}"/>
          </ac:graphicFrameMkLst>
        </pc:graphicFrameChg>
        <pc:graphicFrameChg chg="add mod modGraphic">
          <ac:chgData name="C.M, Roja" userId="3f7d0bc6-dbf6-4d6f-a169-d6fed478b298" providerId="ADAL" clId="{433777DD-36E3-4B34-8224-1BC3743E0991}" dt="2024-10-08T10:12:39.841" v="3672" actId="255"/>
          <ac:graphicFrameMkLst>
            <pc:docMk/>
            <pc:sldMk cId="1630711564" sldId="490"/>
            <ac:graphicFrameMk id="6" creationId="{22CD4228-34F5-1239-BCFE-3FC4EB20D8B0}"/>
          </ac:graphicFrameMkLst>
        </pc:graphicFrameChg>
      </pc:sldChg>
      <pc:sldChg chg="new del">
        <pc:chgData name="C.M, Roja" userId="3f7d0bc6-dbf6-4d6f-a169-d6fed478b298" providerId="ADAL" clId="{433777DD-36E3-4B34-8224-1BC3743E0991}" dt="2024-10-03T10:39:56.893" v="3132" actId="47"/>
        <pc:sldMkLst>
          <pc:docMk/>
          <pc:sldMk cId="4228982800" sldId="491"/>
        </pc:sldMkLst>
      </pc:sldChg>
      <pc:sldChg chg="addSp modSp add mod">
        <pc:chgData name="C.M, Roja" userId="3f7d0bc6-dbf6-4d6f-a169-d6fed478b298" providerId="ADAL" clId="{433777DD-36E3-4B34-8224-1BC3743E0991}" dt="2024-10-03T10:44:07.196" v="3171" actId="20577"/>
        <pc:sldMkLst>
          <pc:docMk/>
          <pc:sldMk cId="1391421164" sldId="492"/>
        </pc:sldMkLst>
        <pc:spChg chg="mod">
          <ac:chgData name="C.M, Roja" userId="3f7d0bc6-dbf6-4d6f-a169-d6fed478b298" providerId="ADAL" clId="{433777DD-36E3-4B34-8224-1BC3743E0991}" dt="2024-10-03T10:44:07.196" v="3171" actId="20577"/>
          <ac:spMkLst>
            <pc:docMk/>
            <pc:sldMk cId="1391421164" sldId="492"/>
            <ac:spMk id="3" creationId="{90900C59-9F1F-5E61-73F7-B65740A46FFA}"/>
          </ac:spMkLst>
        </pc:spChg>
        <pc:spChg chg="add">
          <ac:chgData name="C.M, Roja" userId="3f7d0bc6-dbf6-4d6f-a169-d6fed478b298" providerId="ADAL" clId="{433777DD-36E3-4B34-8224-1BC3743E0991}" dt="2024-10-03T10:40:20.334" v="3133"/>
          <ac:spMkLst>
            <pc:docMk/>
            <pc:sldMk cId="1391421164" sldId="492"/>
            <ac:spMk id="4" creationId="{41BE8D44-AD61-4E02-EEC1-F32E8962957F}"/>
          </ac:spMkLst>
        </pc:spChg>
        <pc:spChg chg="add">
          <ac:chgData name="C.M, Roja" userId="3f7d0bc6-dbf6-4d6f-a169-d6fed478b298" providerId="ADAL" clId="{433777DD-36E3-4B34-8224-1BC3743E0991}" dt="2024-10-03T10:43:52.499" v="3150"/>
          <ac:spMkLst>
            <pc:docMk/>
            <pc:sldMk cId="1391421164" sldId="492"/>
            <ac:spMk id="5" creationId="{CBED3961-D2CD-0D50-CC52-6D49A522371A}"/>
          </ac:spMkLst>
        </pc:spChg>
        <pc:graphicFrameChg chg="mod modGraphic">
          <ac:chgData name="C.M, Roja" userId="3f7d0bc6-dbf6-4d6f-a169-d6fed478b298" providerId="ADAL" clId="{433777DD-36E3-4B34-8224-1BC3743E0991}" dt="2024-10-03T10:43:11.308" v="3149"/>
          <ac:graphicFrameMkLst>
            <pc:docMk/>
            <pc:sldMk cId="1391421164" sldId="492"/>
            <ac:graphicFrameMk id="8" creationId="{368874D5-189E-F6DB-3E49-A852F31A80FC}"/>
          </ac:graphicFrameMkLst>
        </pc:graphicFrameChg>
      </pc:sldChg>
      <pc:sldChg chg="new del">
        <pc:chgData name="C.M, Roja" userId="3f7d0bc6-dbf6-4d6f-a169-d6fed478b298" providerId="ADAL" clId="{433777DD-36E3-4B34-8224-1BC3743E0991}" dt="2024-10-03T10:44:54.460" v="3174" actId="47"/>
        <pc:sldMkLst>
          <pc:docMk/>
          <pc:sldMk cId="1407376634" sldId="493"/>
        </pc:sldMkLst>
      </pc:sldChg>
      <pc:sldChg chg="addSp delSp modSp add mod">
        <pc:chgData name="C.M, Roja" userId="3f7d0bc6-dbf6-4d6f-a169-d6fed478b298" providerId="ADAL" clId="{433777DD-36E3-4B34-8224-1BC3743E0991}" dt="2024-10-07T08:22:59.517" v="3500" actId="14734"/>
        <pc:sldMkLst>
          <pc:docMk/>
          <pc:sldMk cId="1517233518" sldId="494"/>
        </pc:sldMkLst>
        <pc:spChg chg="mod">
          <ac:chgData name="C.M, Roja" userId="3f7d0bc6-dbf6-4d6f-a169-d6fed478b298" providerId="ADAL" clId="{433777DD-36E3-4B34-8224-1BC3743E0991}" dt="2024-10-07T06:55:47.784" v="3412" actId="20577"/>
          <ac:spMkLst>
            <pc:docMk/>
            <pc:sldMk cId="1517233518" sldId="494"/>
            <ac:spMk id="2" creationId="{B0D95116-2287-1EBD-355C-7597C069BEEC}"/>
          </ac:spMkLst>
        </pc:spChg>
        <pc:spChg chg="add del mod">
          <ac:chgData name="C.M, Roja" userId="3f7d0bc6-dbf6-4d6f-a169-d6fed478b298" providerId="ADAL" clId="{433777DD-36E3-4B34-8224-1BC3743E0991}" dt="2024-10-03T10:45:11.341" v="3176"/>
          <ac:spMkLst>
            <pc:docMk/>
            <pc:sldMk cId="1517233518" sldId="494"/>
            <ac:spMk id="4" creationId="{4325A183-489F-E12A-A7DA-DCC5E829D68E}"/>
          </ac:spMkLst>
        </pc:spChg>
        <pc:spChg chg="add del mod">
          <ac:chgData name="C.M, Roja" userId="3f7d0bc6-dbf6-4d6f-a169-d6fed478b298" providerId="ADAL" clId="{433777DD-36E3-4B34-8224-1BC3743E0991}" dt="2024-10-03T10:51:17.166" v="3209"/>
          <ac:spMkLst>
            <pc:docMk/>
            <pc:sldMk cId="1517233518" sldId="494"/>
            <ac:spMk id="8" creationId="{712816E5-4667-21CB-2858-54980F3DA56D}"/>
          </ac:spMkLst>
        </pc:spChg>
        <pc:graphicFrameChg chg="del">
          <ac:chgData name="C.M, Roja" userId="3f7d0bc6-dbf6-4d6f-a169-d6fed478b298" providerId="ADAL" clId="{433777DD-36E3-4B34-8224-1BC3743E0991}" dt="2024-10-03T10:44:58.739" v="3175" actId="478"/>
          <ac:graphicFrameMkLst>
            <pc:docMk/>
            <pc:sldMk cId="1517233518" sldId="494"/>
            <ac:graphicFrameMk id="5" creationId="{EED0C913-EF78-EFA6-76EF-DB8526C30DA5}"/>
          </ac:graphicFrameMkLst>
        </pc:graphicFrameChg>
        <pc:graphicFrameChg chg="add del mod modGraphic">
          <ac:chgData name="C.M, Roja" userId="3f7d0bc6-dbf6-4d6f-a169-d6fed478b298" providerId="ADAL" clId="{433777DD-36E3-4B34-8224-1BC3743E0991}" dt="2024-10-03T10:50:29.189" v="3204" actId="478"/>
          <ac:graphicFrameMkLst>
            <pc:docMk/>
            <pc:sldMk cId="1517233518" sldId="494"/>
            <ac:graphicFrameMk id="6" creationId="{B56A3B73-078F-6D21-04B4-F61F2A68F858}"/>
          </ac:graphicFrameMkLst>
        </pc:graphicFrameChg>
        <pc:graphicFrameChg chg="add mod">
          <ac:chgData name="C.M, Roja" userId="3f7d0bc6-dbf6-4d6f-a169-d6fed478b298" providerId="ADAL" clId="{433777DD-36E3-4B34-8224-1BC3743E0991}" dt="2024-10-03T10:50:31.246" v="3206"/>
          <ac:graphicFrameMkLst>
            <pc:docMk/>
            <pc:sldMk cId="1517233518" sldId="494"/>
            <ac:graphicFrameMk id="9" creationId="{CBF6885A-B02A-0D12-4DCA-5B027209FC72}"/>
          </ac:graphicFrameMkLst>
        </pc:graphicFrameChg>
        <pc:graphicFrameChg chg="add mod modGraphic">
          <ac:chgData name="C.M, Roja" userId="3f7d0bc6-dbf6-4d6f-a169-d6fed478b298" providerId="ADAL" clId="{433777DD-36E3-4B34-8224-1BC3743E0991}" dt="2024-10-07T08:22:59.517" v="3500" actId="14734"/>
          <ac:graphicFrameMkLst>
            <pc:docMk/>
            <pc:sldMk cId="1517233518" sldId="494"/>
            <ac:graphicFrameMk id="10" creationId="{15DAE096-919B-F132-1153-B4C96687DEA1}"/>
          </ac:graphicFrameMkLst>
        </pc:graphicFrameChg>
      </pc:sldChg>
      <pc:sldChg chg="addSp delSp modSp new mod">
        <pc:chgData name="C.M, Roja" userId="3f7d0bc6-dbf6-4d6f-a169-d6fed478b298" providerId="ADAL" clId="{433777DD-36E3-4B34-8224-1BC3743E0991}" dt="2024-10-07T08:05:54.457" v="3456"/>
        <pc:sldMkLst>
          <pc:docMk/>
          <pc:sldMk cId="349993756" sldId="495"/>
        </pc:sldMkLst>
        <pc:spChg chg="mod">
          <ac:chgData name="C.M, Roja" userId="3f7d0bc6-dbf6-4d6f-a169-d6fed478b298" providerId="ADAL" clId="{433777DD-36E3-4B34-8224-1BC3743E0991}" dt="2024-10-07T08:05:54.457" v="3456"/>
          <ac:spMkLst>
            <pc:docMk/>
            <pc:sldMk cId="349993756" sldId="495"/>
            <ac:spMk id="2" creationId="{BCA06FB9-A357-33B5-A4FF-52A144AD2534}"/>
          </ac:spMkLst>
        </pc:spChg>
        <pc:spChg chg="del">
          <ac:chgData name="C.M, Roja" userId="3f7d0bc6-dbf6-4d6f-a169-d6fed478b298" providerId="ADAL" clId="{433777DD-36E3-4B34-8224-1BC3743E0991}" dt="2024-10-03T10:49:52.172" v="3199"/>
          <ac:spMkLst>
            <pc:docMk/>
            <pc:sldMk cId="349993756" sldId="495"/>
            <ac:spMk id="3" creationId="{7EFF2402-CC5E-2E82-8CCE-EFE7ACB87234}"/>
          </ac:spMkLst>
        </pc:spChg>
        <pc:spChg chg="del">
          <ac:chgData name="C.M, Roja" userId="3f7d0bc6-dbf6-4d6f-a169-d6fed478b298" providerId="ADAL" clId="{433777DD-36E3-4B34-8224-1BC3743E0991}" dt="2024-10-03T10:50:17.618" v="3202" actId="478"/>
          <ac:spMkLst>
            <pc:docMk/>
            <pc:sldMk cId="349993756" sldId="495"/>
            <ac:spMk id="4" creationId="{E573A997-C981-658B-BFD2-1F742F0C0B66}"/>
          </ac:spMkLst>
        </pc:spChg>
        <pc:spChg chg="add del mod">
          <ac:chgData name="C.M, Roja" userId="3f7d0bc6-dbf6-4d6f-a169-d6fed478b298" providerId="ADAL" clId="{433777DD-36E3-4B34-8224-1BC3743E0991}" dt="2024-10-03T10:57:36.123" v="3243"/>
          <ac:spMkLst>
            <pc:docMk/>
            <pc:sldMk cId="349993756" sldId="495"/>
            <ac:spMk id="7" creationId="{EEB01256-45CB-1850-0475-99A98EA112DC}"/>
          </ac:spMkLst>
        </pc:spChg>
        <pc:graphicFrameChg chg="add del mod">
          <ac:chgData name="C.M, Roja" userId="3f7d0bc6-dbf6-4d6f-a169-d6fed478b298" providerId="ADAL" clId="{433777DD-36E3-4B34-8224-1BC3743E0991}" dt="2024-10-03T10:53:19.988" v="3241" actId="478"/>
          <ac:graphicFrameMkLst>
            <pc:docMk/>
            <pc:sldMk cId="349993756" sldId="495"/>
            <ac:graphicFrameMk id="5" creationId="{A99955F3-9930-F481-C403-778EF889B338}"/>
          </ac:graphicFrameMkLst>
        </pc:graphicFrameChg>
        <pc:graphicFrameChg chg="add mod">
          <ac:chgData name="C.M, Roja" userId="3f7d0bc6-dbf6-4d6f-a169-d6fed478b298" providerId="ADAL" clId="{433777DD-36E3-4B34-8224-1BC3743E0991}" dt="2024-10-03T10:58:15.930" v="3247" actId="14100"/>
          <ac:graphicFrameMkLst>
            <pc:docMk/>
            <pc:sldMk cId="349993756" sldId="495"/>
            <ac:graphicFrameMk id="8" creationId="{071C9B92-5A2C-1864-E385-654878FEDE5F}"/>
          </ac:graphicFrameMkLst>
        </pc:graphicFrameChg>
      </pc:sldChg>
      <pc:sldChg chg="addSp delSp modSp new mod">
        <pc:chgData name="C.M, Roja" userId="3f7d0bc6-dbf6-4d6f-a169-d6fed478b298" providerId="ADAL" clId="{433777DD-36E3-4B34-8224-1BC3743E0991}" dt="2024-10-08T11:58:00.821" v="3726" actId="478"/>
        <pc:sldMkLst>
          <pc:docMk/>
          <pc:sldMk cId="4099221226" sldId="496"/>
        </pc:sldMkLst>
        <pc:spChg chg="mod">
          <ac:chgData name="C.M, Roja" userId="3f7d0bc6-dbf6-4d6f-a169-d6fed478b298" providerId="ADAL" clId="{433777DD-36E3-4B34-8224-1BC3743E0991}" dt="2024-10-03T11:04:13.768" v="3259" actId="20577"/>
          <ac:spMkLst>
            <pc:docMk/>
            <pc:sldMk cId="4099221226" sldId="496"/>
            <ac:spMk id="2" creationId="{AF3FC0D2-7F3F-9039-67EE-A34984D8A154}"/>
          </ac:spMkLst>
        </pc:spChg>
        <pc:spChg chg="del">
          <ac:chgData name="C.M, Roja" userId="3f7d0bc6-dbf6-4d6f-a169-d6fed478b298" providerId="ADAL" clId="{433777DD-36E3-4B34-8224-1BC3743E0991}" dt="2024-10-03T11:03:56.783" v="3249"/>
          <ac:spMkLst>
            <pc:docMk/>
            <pc:sldMk cId="4099221226" sldId="496"/>
            <ac:spMk id="3" creationId="{A784D9C0-235E-C658-7092-C48554CF3EBB}"/>
          </ac:spMkLst>
        </pc:spChg>
        <pc:spChg chg="del">
          <ac:chgData name="C.M, Roja" userId="3f7d0bc6-dbf6-4d6f-a169-d6fed478b298" providerId="ADAL" clId="{433777DD-36E3-4B34-8224-1BC3743E0991}" dt="2024-10-08T11:58:00.821" v="3726" actId="478"/>
          <ac:spMkLst>
            <pc:docMk/>
            <pc:sldMk cId="4099221226" sldId="496"/>
            <ac:spMk id="4" creationId="{B8DF5F52-5314-6580-542C-63A9D8DE9E5C}"/>
          </ac:spMkLst>
        </pc:spChg>
        <pc:spChg chg="add del">
          <ac:chgData name="C.M, Roja" userId="3f7d0bc6-dbf6-4d6f-a169-d6fed478b298" providerId="ADAL" clId="{433777DD-36E3-4B34-8224-1BC3743E0991}" dt="2024-10-08T11:40:33.189" v="3694" actId="22"/>
          <ac:spMkLst>
            <pc:docMk/>
            <pc:sldMk cId="4099221226" sldId="496"/>
            <ac:spMk id="6" creationId="{61363058-7937-E8D2-1454-680F01BF63B2}"/>
          </ac:spMkLst>
        </pc:spChg>
        <pc:spChg chg="add del mod">
          <ac:chgData name="C.M, Roja" userId="3f7d0bc6-dbf6-4d6f-a169-d6fed478b298" providerId="ADAL" clId="{433777DD-36E3-4B34-8224-1BC3743E0991}" dt="2024-10-08T11:45:12.296" v="3696"/>
          <ac:spMkLst>
            <pc:docMk/>
            <pc:sldMk cId="4099221226" sldId="496"/>
            <ac:spMk id="8" creationId="{4AC7F7B6-3463-5D93-93DE-008D4A262F64}"/>
          </ac:spMkLst>
        </pc:spChg>
        <pc:spChg chg="add del mod">
          <ac:chgData name="C.M, Roja" userId="3f7d0bc6-dbf6-4d6f-a169-d6fed478b298" providerId="ADAL" clId="{433777DD-36E3-4B34-8224-1BC3743E0991}" dt="2024-10-08T11:56:42.253" v="3719"/>
          <ac:spMkLst>
            <pc:docMk/>
            <pc:sldMk cId="4099221226" sldId="496"/>
            <ac:spMk id="11" creationId="{55F3C224-7C8A-6A05-E568-2261CB6DAAF3}"/>
          </ac:spMkLst>
        </pc:spChg>
        <pc:graphicFrameChg chg="add del mod modGraphic">
          <ac:chgData name="C.M, Roja" userId="3f7d0bc6-dbf6-4d6f-a169-d6fed478b298" providerId="ADAL" clId="{433777DD-36E3-4B34-8224-1BC3743E0991}" dt="2024-10-08T11:41:07.612" v="3695" actId="478"/>
          <ac:graphicFrameMkLst>
            <pc:docMk/>
            <pc:sldMk cId="4099221226" sldId="496"/>
            <ac:graphicFrameMk id="5" creationId="{D71BC432-91A9-FF86-959A-AC9176C6180E}"/>
          </ac:graphicFrameMkLst>
        </pc:graphicFrameChg>
        <pc:graphicFrameChg chg="add del mod modGraphic">
          <ac:chgData name="C.M, Roja" userId="3f7d0bc6-dbf6-4d6f-a169-d6fed478b298" providerId="ADAL" clId="{433777DD-36E3-4B34-8224-1BC3743E0991}" dt="2024-10-08T11:46:20.082" v="3703" actId="478"/>
          <ac:graphicFrameMkLst>
            <pc:docMk/>
            <pc:sldMk cId="4099221226" sldId="496"/>
            <ac:graphicFrameMk id="9" creationId="{E7264D42-A4E2-1312-D762-6B0A19310B28}"/>
          </ac:graphicFrameMkLst>
        </pc:graphicFrameChg>
        <pc:graphicFrameChg chg="add mod">
          <ac:chgData name="C.M, Roja" userId="3f7d0bc6-dbf6-4d6f-a169-d6fed478b298" providerId="ADAL" clId="{433777DD-36E3-4B34-8224-1BC3743E0991}" dt="2024-10-08T11:56:39.986" v="3718"/>
          <ac:graphicFrameMkLst>
            <pc:docMk/>
            <pc:sldMk cId="4099221226" sldId="496"/>
            <ac:graphicFrameMk id="12" creationId="{8805B773-13D8-2202-CA61-4E21FECE5D6F}"/>
          </ac:graphicFrameMkLst>
        </pc:graphicFrameChg>
        <pc:graphicFrameChg chg="add mod modGraphic">
          <ac:chgData name="C.M, Roja" userId="3f7d0bc6-dbf6-4d6f-a169-d6fed478b298" providerId="ADAL" clId="{433777DD-36E3-4B34-8224-1BC3743E0991}" dt="2024-10-08T11:56:49.286" v="3723" actId="14100"/>
          <ac:graphicFrameMkLst>
            <pc:docMk/>
            <pc:sldMk cId="4099221226" sldId="496"/>
            <ac:graphicFrameMk id="13" creationId="{B1BBB6FB-F4C0-FE0A-6A61-16ACF3F1161B}"/>
          </ac:graphicFrameMkLst>
        </pc:graphicFrameChg>
        <pc:graphicFrameChg chg="add mod">
          <ac:chgData name="C.M, Roja" userId="3f7d0bc6-dbf6-4d6f-a169-d6fed478b298" providerId="ADAL" clId="{433777DD-36E3-4B34-8224-1BC3743E0991}" dt="2024-10-08T11:57:57.621" v="3725" actId="1076"/>
          <ac:graphicFrameMkLst>
            <pc:docMk/>
            <pc:sldMk cId="4099221226" sldId="496"/>
            <ac:graphicFrameMk id="14" creationId="{D980DA0C-200A-4765-3AAE-5364404866C6}"/>
          </ac:graphicFrameMkLst>
        </pc:graphicFrameChg>
      </pc:sldChg>
      <pc:sldChg chg="addSp delSp modSp new mod">
        <pc:chgData name="C.M, Roja" userId="3f7d0bc6-dbf6-4d6f-a169-d6fed478b298" providerId="ADAL" clId="{433777DD-36E3-4B34-8224-1BC3743E0991}" dt="2024-10-08T11:48:31.138" v="3716" actId="1076"/>
        <pc:sldMkLst>
          <pc:docMk/>
          <pc:sldMk cId="2509425644" sldId="497"/>
        </pc:sldMkLst>
        <pc:spChg chg="mod">
          <ac:chgData name="C.M, Roja" userId="3f7d0bc6-dbf6-4d6f-a169-d6fed478b298" providerId="ADAL" clId="{433777DD-36E3-4B34-8224-1BC3743E0991}" dt="2024-10-03T12:55:26.541" v="3275" actId="1076"/>
          <ac:spMkLst>
            <pc:docMk/>
            <pc:sldMk cId="2509425644" sldId="497"/>
            <ac:spMk id="2" creationId="{0BBADCAD-5438-7A43-181C-4E1C2334BA16}"/>
          </ac:spMkLst>
        </pc:spChg>
        <pc:spChg chg="del">
          <ac:chgData name="C.M, Roja" userId="3f7d0bc6-dbf6-4d6f-a169-d6fed478b298" providerId="ADAL" clId="{433777DD-36E3-4B34-8224-1BC3743E0991}" dt="2024-10-03T11:06:21.954" v="3270"/>
          <ac:spMkLst>
            <pc:docMk/>
            <pc:sldMk cId="2509425644" sldId="497"/>
            <ac:spMk id="3" creationId="{D4962592-32C0-1032-B860-02EB517214AC}"/>
          </ac:spMkLst>
        </pc:spChg>
        <pc:spChg chg="del">
          <ac:chgData name="C.M, Roja" userId="3f7d0bc6-dbf6-4d6f-a169-d6fed478b298" providerId="ADAL" clId="{433777DD-36E3-4B34-8224-1BC3743E0991}" dt="2024-10-08T11:47:02.188" v="3714" actId="478"/>
          <ac:spMkLst>
            <pc:docMk/>
            <pc:sldMk cId="2509425644" sldId="497"/>
            <ac:spMk id="4" creationId="{D16AFD05-4E71-197F-D3E7-E0FDCBE41D48}"/>
          </ac:spMkLst>
        </pc:spChg>
        <pc:spChg chg="add del mod">
          <ac:chgData name="C.M, Roja" userId="3f7d0bc6-dbf6-4d6f-a169-d6fed478b298" providerId="ADAL" clId="{433777DD-36E3-4B34-8224-1BC3743E0991}" dt="2024-10-08T11:46:38.555" v="3708"/>
          <ac:spMkLst>
            <pc:docMk/>
            <pc:sldMk cId="2509425644" sldId="497"/>
            <ac:spMk id="6" creationId="{2E342FB2-B57C-5C0F-E19B-A93A44F2D281}"/>
          </ac:spMkLst>
        </pc:spChg>
        <pc:graphicFrameChg chg="add del mod modGraphic">
          <ac:chgData name="C.M, Roja" userId="3f7d0bc6-dbf6-4d6f-a169-d6fed478b298" providerId="ADAL" clId="{433777DD-36E3-4B34-8224-1BC3743E0991}" dt="2024-10-08T11:46:24.268" v="3704" actId="478"/>
          <ac:graphicFrameMkLst>
            <pc:docMk/>
            <pc:sldMk cId="2509425644" sldId="497"/>
            <ac:graphicFrameMk id="5" creationId="{477E15B2-ECEF-6211-E254-E8F3FBC4A65D}"/>
          </ac:graphicFrameMkLst>
        </pc:graphicFrameChg>
        <pc:graphicFrameChg chg="add mod">
          <ac:chgData name="C.M, Roja" userId="3f7d0bc6-dbf6-4d6f-a169-d6fed478b298" providerId="ADAL" clId="{433777DD-36E3-4B34-8224-1BC3743E0991}" dt="2024-10-08T11:46:24.923" v="3705"/>
          <ac:graphicFrameMkLst>
            <pc:docMk/>
            <pc:sldMk cId="2509425644" sldId="497"/>
            <ac:graphicFrameMk id="7" creationId="{201EE6ED-9263-8FA3-979E-F3511D7C6DB7}"/>
          </ac:graphicFrameMkLst>
        </pc:graphicFrameChg>
        <pc:graphicFrameChg chg="add mod modGraphic">
          <ac:chgData name="C.M, Roja" userId="3f7d0bc6-dbf6-4d6f-a169-d6fed478b298" providerId="ADAL" clId="{433777DD-36E3-4B34-8224-1BC3743E0991}" dt="2024-10-08T11:46:58.218" v="3713" actId="14100"/>
          <ac:graphicFrameMkLst>
            <pc:docMk/>
            <pc:sldMk cId="2509425644" sldId="497"/>
            <ac:graphicFrameMk id="8" creationId="{4384D77E-58BB-01AC-FF5B-3D3E66591206}"/>
          </ac:graphicFrameMkLst>
        </pc:graphicFrameChg>
        <pc:graphicFrameChg chg="add mod">
          <ac:chgData name="C.M, Roja" userId="3f7d0bc6-dbf6-4d6f-a169-d6fed478b298" providerId="ADAL" clId="{433777DD-36E3-4B34-8224-1BC3743E0991}" dt="2024-10-08T11:48:31.138" v="3716" actId="1076"/>
          <ac:graphicFrameMkLst>
            <pc:docMk/>
            <pc:sldMk cId="2509425644" sldId="497"/>
            <ac:graphicFrameMk id="9" creationId="{D8D63D4E-F098-DE2C-7DD6-0A315BDB5CD3}"/>
          </ac:graphicFrameMkLst>
        </pc:graphicFrameChg>
      </pc:sldChg>
      <pc:sldChg chg="addSp delSp modSp new mod">
        <pc:chgData name="C.M, Roja" userId="3f7d0bc6-dbf6-4d6f-a169-d6fed478b298" providerId="ADAL" clId="{433777DD-36E3-4B34-8224-1BC3743E0991}" dt="2024-10-08T10:22:41.850" v="3679"/>
        <pc:sldMkLst>
          <pc:docMk/>
          <pc:sldMk cId="3670604289" sldId="498"/>
        </pc:sldMkLst>
        <pc:spChg chg="mod">
          <ac:chgData name="C.M, Roja" userId="3f7d0bc6-dbf6-4d6f-a169-d6fed478b298" providerId="ADAL" clId="{433777DD-36E3-4B34-8224-1BC3743E0991}" dt="2024-10-08T09:59:26.451" v="3651" actId="20577"/>
          <ac:spMkLst>
            <pc:docMk/>
            <pc:sldMk cId="3670604289" sldId="498"/>
            <ac:spMk id="2" creationId="{8A0963F7-EB50-BAE7-387B-EEB707454313}"/>
          </ac:spMkLst>
        </pc:spChg>
        <pc:spChg chg="del">
          <ac:chgData name="C.M, Roja" userId="3f7d0bc6-dbf6-4d6f-a169-d6fed478b298" providerId="ADAL" clId="{433777DD-36E3-4B34-8224-1BC3743E0991}" dt="2024-10-04T09:56:08.211" v="3277"/>
          <ac:spMkLst>
            <pc:docMk/>
            <pc:sldMk cId="3670604289" sldId="498"/>
            <ac:spMk id="3" creationId="{3FBC4A69-0AD1-8BE2-C600-572F3A94C326}"/>
          </ac:spMkLst>
        </pc:spChg>
        <pc:spChg chg="del">
          <ac:chgData name="C.M, Roja" userId="3f7d0bc6-dbf6-4d6f-a169-d6fed478b298" providerId="ADAL" clId="{433777DD-36E3-4B34-8224-1BC3743E0991}" dt="2024-10-08T10:04:27.669" v="3660" actId="478"/>
          <ac:spMkLst>
            <pc:docMk/>
            <pc:sldMk cId="3670604289" sldId="498"/>
            <ac:spMk id="4" creationId="{447B2CD4-485B-707D-E9CB-61E574DAE4E4}"/>
          </ac:spMkLst>
        </pc:spChg>
        <pc:spChg chg="add del mod">
          <ac:chgData name="C.M, Roja" userId="3f7d0bc6-dbf6-4d6f-a169-d6fed478b298" providerId="ADAL" clId="{433777DD-36E3-4B34-8224-1BC3743E0991}" dt="2024-10-08T10:03:56.767" v="3655" actId="22"/>
          <ac:spMkLst>
            <pc:docMk/>
            <pc:sldMk cId="3670604289" sldId="498"/>
            <ac:spMk id="6" creationId="{E7B86B75-0A7E-3682-43E7-98BC9C5E7D99}"/>
          </ac:spMkLst>
        </pc:spChg>
        <pc:spChg chg="add del mod">
          <ac:chgData name="C.M, Roja" userId="3f7d0bc6-dbf6-4d6f-a169-d6fed478b298" providerId="ADAL" clId="{433777DD-36E3-4B34-8224-1BC3743E0991}" dt="2024-10-08T10:04:19.241" v="3657"/>
          <ac:spMkLst>
            <pc:docMk/>
            <pc:sldMk cId="3670604289" sldId="498"/>
            <ac:spMk id="10" creationId="{FA4E9916-71FF-AF67-2798-B8B1959B6423}"/>
          </ac:spMkLst>
        </pc:spChg>
        <pc:graphicFrameChg chg="add mod">
          <ac:chgData name="C.M, Roja" userId="3f7d0bc6-dbf6-4d6f-a169-d6fed478b298" providerId="ADAL" clId="{433777DD-36E3-4B34-8224-1BC3743E0991}" dt="2024-10-08T10:22:41.850" v="3679"/>
          <ac:graphicFrameMkLst>
            <pc:docMk/>
            <pc:sldMk cId="3670604289" sldId="498"/>
            <ac:graphicFrameMk id="3" creationId="{8F40DCC2-90E1-391D-A920-C6EF0FBA01D5}"/>
          </ac:graphicFrameMkLst>
        </pc:graphicFrameChg>
        <pc:graphicFrameChg chg="add del mod modGraphic">
          <ac:chgData name="C.M, Roja" userId="3f7d0bc6-dbf6-4d6f-a169-d6fed478b298" providerId="ADAL" clId="{433777DD-36E3-4B34-8224-1BC3743E0991}" dt="2024-10-08T09:57:55.862" v="3630" actId="478"/>
          <ac:graphicFrameMkLst>
            <pc:docMk/>
            <pc:sldMk cId="3670604289" sldId="498"/>
            <ac:graphicFrameMk id="5" creationId="{4568FAFD-9908-DFB6-D378-0A8F5E398B5A}"/>
          </ac:graphicFrameMkLst>
        </pc:graphicFrameChg>
        <pc:graphicFrameChg chg="add mod modGraphic">
          <ac:chgData name="C.M, Roja" userId="3f7d0bc6-dbf6-4d6f-a169-d6fed478b298" providerId="ADAL" clId="{433777DD-36E3-4B34-8224-1BC3743E0991}" dt="2024-10-08T10:04:54.637" v="3664" actId="14100"/>
          <ac:graphicFrameMkLst>
            <pc:docMk/>
            <pc:sldMk cId="3670604289" sldId="498"/>
            <ac:graphicFrameMk id="11" creationId="{B2A8A1D6-60A6-08B2-F3FD-46F6A382A0AA}"/>
          </ac:graphicFrameMkLst>
        </pc:graphicFrameChg>
        <pc:picChg chg="add del mod ord">
          <ac:chgData name="C.M, Roja" userId="3f7d0bc6-dbf6-4d6f-a169-d6fed478b298" providerId="ADAL" clId="{433777DD-36E3-4B34-8224-1BC3743E0991}" dt="2024-10-08T10:04:06.455" v="3656" actId="478"/>
          <ac:picMkLst>
            <pc:docMk/>
            <pc:sldMk cId="3670604289" sldId="498"/>
            <ac:picMk id="8" creationId="{111862B3-3969-D58F-744E-738B75065111}"/>
          </ac:picMkLst>
        </pc:picChg>
      </pc:sldChg>
      <pc:sldChg chg="addSp delSp modSp new mod ord">
        <pc:chgData name="C.M, Roja" userId="3f7d0bc6-dbf6-4d6f-a169-d6fed478b298" providerId="ADAL" clId="{433777DD-36E3-4B34-8224-1BC3743E0991}" dt="2024-10-07T08:06:14.036" v="3466" actId="20577"/>
        <pc:sldMkLst>
          <pc:docMk/>
          <pc:sldMk cId="2682404902" sldId="499"/>
        </pc:sldMkLst>
        <pc:spChg chg="mod">
          <ac:chgData name="C.M, Roja" userId="3f7d0bc6-dbf6-4d6f-a169-d6fed478b298" providerId="ADAL" clId="{433777DD-36E3-4B34-8224-1BC3743E0991}" dt="2024-10-06T17:38:22.046" v="3366" actId="20577"/>
          <ac:spMkLst>
            <pc:docMk/>
            <pc:sldMk cId="2682404902" sldId="499"/>
            <ac:spMk id="2" creationId="{491D51A9-29C5-A675-B87F-8F79B57DB076}"/>
          </ac:spMkLst>
        </pc:spChg>
        <pc:spChg chg="add del">
          <ac:chgData name="C.M, Roja" userId="3f7d0bc6-dbf6-4d6f-a169-d6fed478b298" providerId="ADAL" clId="{433777DD-36E3-4B34-8224-1BC3743E0991}" dt="2024-10-06T17:36:12.732" v="3302"/>
          <ac:spMkLst>
            <pc:docMk/>
            <pc:sldMk cId="2682404902" sldId="499"/>
            <ac:spMk id="3" creationId="{526258EA-1F9B-1209-FFDE-F0A50855BC64}"/>
          </ac:spMkLst>
        </pc:spChg>
        <pc:spChg chg="del">
          <ac:chgData name="C.M, Roja" userId="3f7d0bc6-dbf6-4d6f-a169-d6fed478b298" providerId="ADAL" clId="{433777DD-36E3-4B34-8224-1BC3743E0991}" dt="2024-10-07T07:26:24.394" v="3423" actId="478"/>
          <ac:spMkLst>
            <pc:docMk/>
            <pc:sldMk cId="2682404902" sldId="499"/>
            <ac:spMk id="4" creationId="{9B4001D4-F548-7141-6F92-890511A0A716}"/>
          </ac:spMkLst>
        </pc:spChg>
        <pc:spChg chg="add del mod">
          <ac:chgData name="C.M, Roja" userId="3f7d0bc6-dbf6-4d6f-a169-d6fed478b298" providerId="ADAL" clId="{433777DD-36E3-4B34-8224-1BC3743E0991}" dt="2024-10-07T07:32:48.993" v="3427"/>
          <ac:spMkLst>
            <pc:docMk/>
            <pc:sldMk cId="2682404902" sldId="499"/>
            <ac:spMk id="5" creationId="{1DF34D41-3B80-5B75-9C54-D0A2E1AFC02B}"/>
          </ac:spMkLst>
        </pc:spChg>
        <pc:spChg chg="add del mod">
          <ac:chgData name="C.M, Roja" userId="3f7d0bc6-dbf6-4d6f-a169-d6fed478b298" providerId="ADAL" clId="{433777DD-36E3-4B34-8224-1BC3743E0991}" dt="2024-10-06T17:37:11.844" v="3315"/>
          <ac:spMkLst>
            <pc:docMk/>
            <pc:sldMk cId="2682404902" sldId="499"/>
            <ac:spMk id="10" creationId="{DC4FF002-B4AE-2A27-E28A-1509BA2F8D8D}"/>
          </ac:spMkLst>
        </pc:spChg>
        <pc:graphicFrameChg chg="add mod">
          <ac:chgData name="C.M, Roja" userId="3f7d0bc6-dbf6-4d6f-a169-d6fed478b298" providerId="ADAL" clId="{433777DD-36E3-4B34-8224-1BC3743E0991}" dt="2024-10-06T17:36:00.142" v="3297"/>
          <ac:graphicFrameMkLst>
            <pc:docMk/>
            <pc:sldMk cId="2682404902" sldId="499"/>
            <ac:graphicFrameMk id="5" creationId="{DA058982-E845-5535-6042-F6AC3229D69C}"/>
          </ac:graphicFrameMkLst>
        </pc:graphicFrameChg>
        <pc:graphicFrameChg chg="add mod">
          <ac:chgData name="C.M, Roja" userId="3f7d0bc6-dbf6-4d6f-a169-d6fed478b298" providerId="ADAL" clId="{433777DD-36E3-4B34-8224-1BC3743E0991}" dt="2024-10-07T07:32:47.192" v="3426"/>
          <ac:graphicFrameMkLst>
            <pc:docMk/>
            <pc:sldMk cId="2682404902" sldId="499"/>
            <ac:graphicFrameMk id="6" creationId="{388B9866-B754-1EEE-82EE-D9A084F3DAB2}"/>
          </ac:graphicFrameMkLst>
        </pc:graphicFrameChg>
        <pc:graphicFrameChg chg="add mod">
          <ac:chgData name="C.M, Roja" userId="3f7d0bc6-dbf6-4d6f-a169-d6fed478b298" providerId="ADAL" clId="{433777DD-36E3-4B34-8224-1BC3743E0991}" dt="2024-10-06T17:36:04.414" v="3299"/>
          <ac:graphicFrameMkLst>
            <pc:docMk/>
            <pc:sldMk cId="2682404902" sldId="499"/>
            <ac:graphicFrameMk id="6" creationId="{C7FC89A4-AF99-B41A-7EC3-7C86494942DB}"/>
          </ac:graphicFrameMkLst>
        </pc:graphicFrameChg>
        <pc:graphicFrameChg chg="add mod">
          <ac:chgData name="C.M, Roja" userId="3f7d0bc6-dbf6-4d6f-a169-d6fed478b298" providerId="ADAL" clId="{433777DD-36E3-4B34-8224-1BC3743E0991}" dt="2024-10-06T17:36:07.723" v="3301"/>
          <ac:graphicFrameMkLst>
            <pc:docMk/>
            <pc:sldMk cId="2682404902" sldId="499"/>
            <ac:graphicFrameMk id="7" creationId="{13A41556-A4AB-7FED-75D7-BEAF2C53153C}"/>
          </ac:graphicFrameMkLst>
        </pc:graphicFrameChg>
        <pc:graphicFrameChg chg="add mod modGraphic">
          <ac:chgData name="C.M, Roja" userId="3f7d0bc6-dbf6-4d6f-a169-d6fed478b298" providerId="ADAL" clId="{433777DD-36E3-4B34-8224-1BC3743E0991}" dt="2024-10-07T08:06:14.036" v="3466" actId="20577"/>
          <ac:graphicFrameMkLst>
            <pc:docMk/>
            <pc:sldMk cId="2682404902" sldId="499"/>
            <ac:graphicFrameMk id="7" creationId="{AC872E1F-41C8-76D0-34CF-321244D9BB50}"/>
          </ac:graphicFrameMkLst>
        </pc:graphicFrameChg>
        <pc:graphicFrameChg chg="add del mod modGraphic">
          <ac:chgData name="C.M, Roja" userId="3f7d0bc6-dbf6-4d6f-a169-d6fed478b298" providerId="ADAL" clId="{433777DD-36E3-4B34-8224-1BC3743E0991}" dt="2024-10-06T17:36:53.111" v="3314" actId="478"/>
          <ac:graphicFrameMkLst>
            <pc:docMk/>
            <pc:sldMk cId="2682404902" sldId="499"/>
            <ac:graphicFrameMk id="8" creationId="{D8A0AA2B-3627-5491-86B2-8F4565630202}"/>
          </ac:graphicFrameMkLst>
        </pc:graphicFrameChg>
        <pc:graphicFrameChg chg="add del mod modGraphic">
          <ac:chgData name="C.M, Roja" userId="3f7d0bc6-dbf6-4d6f-a169-d6fed478b298" providerId="ADAL" clId="{433777DD-36E3-4B34-8224-1BC3743E0991}" dt="2024-10-07T07:32:44.709" v="3424" actId="478"/>
          <ac:graphicFrameMkLst>
            <pc:docMk/>
            <pc:sldMk cId="2682404902" sldId="499"/>
            <ac:graphicFrameMk id="11" creationId="{F949C30E-D3EB-B154-4DD2-7C42AE06266F}"/>
          </ac:graphicFrameMkLst>
        </pc:graphicFrameChg>
      </pc:sldChg>
      <pc:sldChg chg="addSp delSp modSp new mod">
        <pc:chgData name="C.M, Roja" userId="3f7d0bc6-dbf6-4d6f-a169-d6fed478b298" providerId="ADAL" clId="{433777DD-36E3-4B34-8224-1BC3743E0991}" dt="2024-10-07T09:18:23.416" v="3617" actId="478"/>
        <pc:sldMkLst>
          <pc:docMk/>
          <pc:sldMk cId="3755771359" sldId="500"/>
        </pc:sldMkLst>
        <pc:spChg chg="mod">
          <ac:chgData name="C.M, Roja" userId="3f7d0bc6-dbf6-4d6f-a169-d6fed478b298" providerId="ADAL" clId="{433777DD-36E3-4B34-8224-1BC3743E0991}" dt="2024-10-07T08:24:46.298" v="3550" actId="20577"/>
          <ac:spMkLst>
            <pc:docMk/>
            <pc:sldMk cId="3755771359" sldId="500"/>
            <ac:spMk id="2" creationId="{2E08C663-8E0F-1B93-804F-EC4C75E0F196}"/>
          </ac:spMkLst>
        </pc:spChg>
        <pc:spChg chg="add del">
          <ac:chgData name="C.M, Roja" userId="3f7d0bc6-dbf6-4d6f-a169-d6fed478b298" providerId="ADAL" clId="{433777DD-36E3-4B34-8224-1BC3743E0991}" dt="2024-10-07T08:24:04.338" v="3504"/>
          <ac:spMkLst>
            <pc:docMk/>
            <pc:sldMk cId="3755771359" sldId="500"/>
            <ac:spMk id="3" creationId="{F0ACC17E-5721-EBE1-474D-3D6F52F43385}"/>
          </ac:spMkLst>
        </pc:spChg>
        <pc:spChg chg="del">
          <ac:chgData name="C.M, Roja" userId="3f7d0bc6-dbf6-4d6f-a169-d6fed478b298" providerId="ADAL" clId="{433777DD-36E3-4B34-8224-1BC3743E0991}" dt="2024-10-07T09:18:23.416" v="3617" actId="478"/>
          <ac:spMkLst>
            <pc:docMk/>
            <pc:sldMk cId="3755771359" sldId="500"/>
            <ac:spMk id="4" creationId="{10ADC471-5EA3-E38F-BB9A-4C970C49C78B}"/>
          </ac:spMkLst>
        </pc:spChg>
        <pc:graphicFrameChg chg="add mod">
          <ac:chgData name="C.M, Roja" userId="3f7d0bc6-dbf6-4d6f-a169-d6fed478b298" providerId="ADAL" clId="{433777DD-36E3-4B34-8224-1BC3743E0991}" dt="2024-10-07T08:24:02.635" v="3503"/>
          <ac:graphicFrameMkLst>
            <pc:docMk/>
            <pc:sldMk cId="3755771359" sldId="500"/>
            <ac:graphicFrameMk id="5" creationId="{F97F6C93-7CF1-A5EA-CA34-41E303E26CDF}"/>
          </ac:graphicFrameMkLst>
        </pc:graphicFrameChg>
        <pc:graphicFrameChg chg="add mod modGraphic">
          <ac:chgData name="C.M, Roja" userId="3f7d0bc6-dbf6-4d6f-a169-d6fed478b298" providerId="ADAL" clId="{433777DD-36E3-4B34-8224-1BC3743E0991}" dt="2024-10-07T08:26:16.858" v="3554" actId="13926"/>
          <ac:graphicFrameMkLst>
            <pc:docMk/>
            <pc:sldMk cId="3755771359" sldId="500"/>
            <ac:graphicFrameMk id="6" creationId="{AF43E53E-7AF4-43EF-3321-4F154AA7125B}"/>
          </ac:graphicFrameMkLst>
        </pc:graphicFrameChg>
      </pc:sldChg>
      <pc:sldChg chg="addSp delSp modSp new mod">
        <pc:chgData name="C.M, Roja" userId="3f7d0bc6-dbf6-4d6f-a169-d6fed478b298" providerId="ADAL" clId="{433777DD-36E3-4B34-8224-1BC3743E0991}" dt="2024-10-07T09:18:18.449" v="3616" actId="478"/>
        <pc:sldMkLst>
          <pc:docMk/>
          <pc:sldMk cId="1586127184" sldId="501"/>
        </pc:sldMkLst>
        <pc:spChg chg="mod">
          <ac:chgData name="C.M, Roja" userId="3f7d0bc6-dbf6-4d6f-a169-d6fed478b298" providerId="ADAL" clId="{433777DD-36E3-4B34-8224-1BC3743E0991}" dt="2024-10-07T08:43:35.138" v="3561"/>
          <ac:spMkLst>
            <pc:docMk/>
            <pc:sldMk cId="1586127184" sldId="501"/>
            <ac:spMk id="2" creationId="{C35C9AE7-8989-70A0-7768-521CCB82FB33}"/>
          </ac:spMkLst>
        </pc:spChg>
        <pc:spChg chg="add del">
          <ac:chgData name="C.M, Roja" userId="3f7d0bc6-dbf6-4d6f-a169-d6fed478b298" providerId="ADAL" clId="{433777DD-36E3-4B34-8224-1BC3743E0991}" dt="2024-10-07T08:27:36.477" v="3560"/>
          <ac:spMkLst>
            <pc:docMk/>
            <pc:sldMk cId="1586127184" sldId="501"/>
            <ac:spMk id="3" creationId="{919ACB29-D58D-2456-0670-A0B80254CA5E}"/>
          </ac:spMkLst>
        </pc:spChg>
        <pc:spChg chg="del">
          <ac:chgData name="C.M, Roja" userId="3f7d0bc6-dbf6-4d6f-a169-d6fed478b298" providerId="ADAL" clId="{433777DD-36E3-4B34-8224-1BC3743E0991}" dt="2024-10-07T09:18:18.449" v="3616" actId="478"/>
          <ac:spMkLst>
            <pc:docMk/>
            <pc:sldMk cId="1586127184" sldId="501"/>
            <ac:spMk id="4" creationId="{1F54E3F1-9480-82E5-3BB1-9FCC9B1FEDDA}"/>
          </ac:spMkLst>
        </pc:spChg>
        <pc:graphicFrameChg chg="add mod">
          <ac:chgData name="C.M, Roja" userId="3f7d0bc6-dbf6-4d6f-a169-d6fed478b298" providerId="ADAL" clId="{433777DD-36E3-4B34-8224-1BC3743E0991}" dt="2024-10-07T08:27:33.296" v="3558"/>
          <ac:graphicFrameMkLst>
            <pc:docMk/>
            <pc:sldMk cId="1586127184" sldId="501"/>
            <ac:graphicFrameMk id="5" creationId="{9CDDDA20-6A8B-58E8-B6B1-CDB2E9DF74EB}"/>
          </ac:graphicFrameMkLst>
        </pc:graphicFrameChg>
        <pc:graphicFrameChg chg="add mod">
          <ac:chgData name="C.M, Roja" userId="3f7d0bc6-dbf6-4d6f-a169-d6fed478b298" providerId="ADAL" clId="{433777DD-36E3-4B34-8224-1BC3743E0991}" dt="2024-10-07T08:27:36.477" v="3560"/>
          <ac:graphicFrameMkLst>
            <pc:docMk/>
            <pc:sldMk cId="1586127184" sldId="501"/>
            <ac:graphicFrameMk id="6" creationId="{9CDDDA20-6A8B-58E8-B6B1-CDB2E9DF74EB}"/>
          </ac:graphicFrameMkLst>
        </pc:graphicFrameChg>
      </pc:sldChg>
      <pc:sldChg chg="addSp delSp modSp new mod ord">
        <pc:chgData name="C.M, Roja" userId="3f7d0bc6-dbf6-4d6f-a169-d6fed478b298" providerId="ADAL" clId="{433777DD-36E3-4B34-8224-1BC3743E0991}" dt="2024-10-07T09:12:09.625" v="3604" actId="255"/>
        <pc:sldMkLst>
          <pc:docMk/>
          <pc:sldMk cId="2104016211" sldId="502"/>
        </pc:sldMkLst>
        <pc:spChg chg="mod">
          <ac:chgData name="C.M, Roja" userId="3f7d0bc6-dbf6-4d6f-a169-d6fed478b298" providerId="ADAL" clId="{433777DD-36E3-4B34-8224-1BC3743E0991}" dt="2024-10-07T08:59:33.891" v="3586" actId="20577"/>
          <ac:spMkLst>
            <pc:docMk/>
            <pc:sldMk cId="2104016211" sldId="502"/>
            <ac:spMk id="2" creationId="{D2C6F791-A329-B857-A711-776DC744D6CA}"/>
          </ac:spMkLst>
        </pc:spChg>
        <pc:spChg chg="del">
          <ac:chgData name="C.M, Roja" userId="3f7d0bc6-dbf6-4d6f-a169-d6fed478b298" providerId="ADAL" clId="{433777DD-36E3-4B34-8224-1BC3743E0991}" dt="2024-10-07T08:58:46.020" v="3566"/>
          <ac:spMkLst>
            <pc:docMk/>
            <pc:sldMk cId="2104016211" sldId="502"/>
            <ac:spMk id="3" creationId="{18CC8A9B-C858-2FD4-3799-726A03BB2F02}"/>
          </ac:spMkLst>
        </pc:spChg>
        <pc:spChg chg="del">
          <ac:chgData name="C.M, Roja" userId="3f7d0bc6-dbf6-4d6f-a169-d6fed478b298" providerId="ADAL" clId="{433777DD-36E3-4B34-8224-1BC3743E0991}" dt="2024-10-07T08:59:20.554" v="3577" actId="478"/>
          <ac:spMkLst>
            <pc:docMk/>
            <pc:sldMk cId="2104016211" sldId="502"/>
            <ac:spMk id="4" creationId="{1657F527-FE4C-8907-9121-A3C1465D4668}"/>
          </ac:spMkLst>
        </pc:spChg>
        <pc:spChg chg="add del mod">
          <ac:chgData name="C.M, Roja" userId="3f7d0bc6-dbf6-4d6f-a169-d6fed478b298" providerId="ADAL" clId="{433777DD-36E3-4B34-8224-1BC3743E0991}" dt="2024-10-07T09:11:40.590" v="3594"/>
          <ac:spMkLst>
            <pc:docMk/>
            <pc:sldMk cId="2104016211" sldId="502"/>
            <ac:spMk id="7" creationId="{51FE533E-71F8-3B70-351F-75C12139FFEC}"/>
          </ac:spMkLst>
        </pc:spChg>
        <pc:graphicFrameChg chg="add del mod modGraphic">
          <ac:chgData name="C.M, Roja" userId="3f7d0bc6-dbf6-4d6f-a169-d6fed478b298" providerId="ADAL" clId="{433777DD-36E3-4B34-8224-1BC3743E0991}" dt="2024-10-07T09:11:18.503" v="3591" actId="478"/>
          <ac:graphicFrameMkLst>
            <pc:docMk/>
            <pc:sldMk cId="2104016211" sldId="502"/>
            <ac:graphicFrameMk id="5" creationId="{BF61F6FB-E47B-5A4F-88DF-82F9C254B5DA}"/>
          </ac:graphicFrameMkLst>
        </pc:graphicFrameChg>
        <pc:graphicFrameChg chg="add mod">
          <ac:chgData name="C.M, Roja" userId="3f7d0bc6-dbf6-4d6f-a169-d6fed478b298" providerId="ADAL" clId="{433777DD-36E3-4B34-8224-1BC3743E0991}" dt="2024-10-07T09:11:38.617" v="3593"/>
          <ac:graphicFrameMkLst>
            <pc:docMk/>
            <pc:sldMk cId="2104016211" sldId="502"/>
            <ac:graphicFrameMk id="8" creationId="{A24BAC65-1457-FB71-E425-493FBAACB2C4}"/>
          </ac:graphicFrameMkLst>
        </pc:graphicFrameChg>
        <pc:graphicFrameChg chg="add mod modGraphic">
          <ac:chgData name="C.M, Roja" userId="3f7d0bc6-dbf6-4d6f-a169-d6fed478b298" providerId="ADAL" clId="{433777DD-36E3-4B34-8224-1BC3743E0991}" dt="2024-10-07T09:12:09.625" v="3604" actId="255"/>
          <ac:graphicFrameMkLst>
            <pc:docMk/>
            <pc:sldMk cId="2104016211" sldId="502"/>
            <ac:graphicFrameMk id="9" creationId="{1CC1DAAA-8553-4102-4BED-22C8B5CF4FAA}"/>
          </ac:graphicFrameMkLst>
        </pc:graphicFrameChg>
      </pc:sldChg>
      <pc:sldChg chg="addSp delSp modSp new mod">
        <pc:chgData name="C.M, Roja" userId="3f7d0bc6-dbf6-4d6f-a169-d6fed478b298" providerId="ADAL" clId="{433777DD-36E3-4B34-8224-1BC3743E0991}" dt="2024-10-07T09:15:11.045" v="3615" actId="14100"/>
        <pc:sldMkLst>
          <pc:docMk/>
          <pc:sldMk cId="1295995000" sldId="503"/>
        </pc:sldMkLst>
        <pc:spChg chg="mod">
          <ac:chgData name="C.M, Roja" userId="3f7d0bc6-dbf6-4d6f-a169-d6fed478b298" providerId="ADAL" clId="{433777DD-36E3-4B34-8224-1BC3743E0991}" dt="2024-10-07T09:14:12.843" v="3606"/>
          <ac:spMkLst>
            <pc:docMk/>
            <pc:sldMk cId="1295995000" sldId="503"/>
            <ac:spMk id="2" creationId="{29EE1DEA-0010-96D7-8226-5EB242F6B49F}"/>
          </ac:spMkLst>
        </pc:spChg>
        <pc:spChg chg="add del">
          <ac:chgData name="C.M, Roja" userId="3f7d0bc6-dbf6-4d6f-a169-d6fed478b298" providerId="ADAL" clId="{433777DD-36E3-4B34-8224-1BC3743E0991}" dt="2024-10-07T09:14:52.394" v="3611"/>
          <ac:spMkLst>
            <pc:docMk/>
            <pc:sldMk cId="1295995000" sldId="503"/>
            <ac:spMk id="3" creationId="{10365C25-BC30-E53C-191F-E24519E2EC66}"/>
          </ac:spMkLst>
        </pc:spChg>
        <pc:spChg chg="del">
          <ac:chgData name="C.M, Roja" userId="3f7d0bc6-dbf6-4d6f-a169-d6fed478b298" providerId="ADAL" clId="{433777DD-36E3-4B34-8224-1BC3743E0991}" dt="2024-10-07T09:14:57.528" v="3612" actId="478"/>
          <ac:spMkLst>
            <pc:docMk/>
            <pc:sldMk cId="1295995000" sldId="503"/>
            <ac:spMk id="4" creationId="{8CA39957-0B80-BF28-9DC2-2653535CF941}"/>
          </ac:spMkLst>
        </pc:spChg>
        <pc:graphicFrameChg chg="add mod">
          <ac:chgData name="C.M, Roja" userId="3f7d0bc6-dbf6-4d6f-a169-d6fed478b298" providerId="ADAL" clId="{433777DD-36E3-4B34-8224-1BC3743E0991}" dt="2024-10-07T09:14:50.677" v="3609"/>
          <ac:graphicFrameMkLst>
            <pc:docMk/>
            <pc:sldMk cId="1295995000" sldId="503"/>
            <ac:graphicFrameMk id="5" creationId="{EA53BFF1-CCB8-C39D-CC09-591C39862418}"/>
          </ac:graphicFrameMkLst>
        </pc:graphicFrameChg>
        <pc:graphicFrameChg chg="add mod">
          <ac:chgData name="C.M, Roja" userId="3f7d0bc6-dbf6-4d6f-a169-d6fed478b298" providerId="ADAL" clId="{433777DD-36E3-4B34-8224-1BC3743E0991}" dt="2024-10-07T09:15:11.045" v="3615" actId="14100"/>
          <ac:graphicFrameMkLst>
            <pc:docMk/>
            <pc:sldMk cId="1295995000" sldId="503"/>
            <ac:graphicFrameMk id="6" creationId="{EA53BFF1-CCB8-C39D-CC09-591C39862418}"/>
          </ac:graphicFrameMkLst>
        </pc:graphicFrameChg>
      </pc:sldChg>
      <pc:sldChg chg="addSp delSp modSp new mod">
        <pc:chgData name="C.M, Roja" userId="3f7d0bc6-dbf6-4d6f-a169-d6fed478b298" providerId="ADAL" clId="{433777DD-36E3-4B34-8224-1BC3743E0991}" dt="2024-10-08T11:16:16.497" v="3692" actId="14100"/>
        <pc:sldMkLst>
          <pc:docMk/>
          <pc:sldMk cId="2692952276" sldId="504"/>
        </pc:sldMkLst>
        <pc:spChg chg="mod">
          <ac:chgData name="C.M, Roja" userId="3f7d0bc6-dbf6-4d6f-a169-d6fed478b298" providerId="ADAL" clId="{433777DD-36E3-4B34-8224-1BC3743E0991}" dt="2024-10-08T10:58:08.363" v="3688" actId="20577"/>
          <ac:spMkLst>
            <pc:docMk/>
            <pc:sldMk cId="2692952276" sldId="504"/>
            <ac:spMk id="2" creationId="{724173FF-56C4-7501-193B-D7BFFAA4EA7B}"/>
          </ac:spMkLst>
        </pc:spChg>
        <pc:spChg chg="del">
          <ac:chgData name="C.M, Roja" userId="3f7d0bc6-dbf6-4d6f-a169-d6fed478b298" providerId="ADAL" clId="{433777DD-36E3-4B34-8224-1BC3743E0991}" dt="2024-10-08T11:15:55.980" v="3689"/>
          <ac:spMkLst>
            <pc:docMk/>
            <pc:sldMk cId="2692952276" sldId="504"/>
            <ac:spMk id="3" creationId="{79A7B3C7-272B-2A9B-EBF3-3212D6140403}"/>
          </ac:spMkLst>
        </pc:spChg>
        <pc:graphicFrameChg chg="add mod modGraphic">
          <ac:chgData name="C.M, Roja" userId="3f7d0bc6-dbf6-4d6f-a169-d6fed478b298" providerId="ADAL" clId="{433777DD-36E3-4B34-8224-1BC3743E0991}" dt="2024-10-08T11:16:16.497" v="3692" actId="14100"/>
          <ac:graphicFrameMkLst>
            <pc:docMk/>
            <pc:sldMk cId="2692952276" sldId="504"/>
            <ac:graphicFrameMk id="5" creationId="{342EA539-9504-771A-1253-DCA992B6027A}"/>
          </ac:graphicFrameMkLst>
        </pc:graphicFrameChg>
      </pc:sldChg>
    </pc:docChg>
  </pc:docChgLst>
  <pc:docChgLst>
    <pc:chgData name="C.M, Roja" userId="3f7d0bc6-dbf6-4d6f-a169-d6fed478b298" providerId="ADAL" clId="{5E1FAC12-BECD-49B6-BC4D-78CFD03551EC}"/>
    <pc:docChg chg="undo custSel addSld delSld modSld sldOrd">
      <pc:chgData name="C.M, Roja" userId="3f7d0bc6-dbf6-4d6f-a169-d6fed478b298" providerId="ADAL" clId="{5E1FAC12-BECD-49B6-BC4D-78CFD03551EC}" dt="2024-10-17T14:44:29.047" v="1080" actId="27918"/>
      <pc:docMkLst>
        <pc:docMk/>
      </pc:docMkLst>
      <pc:sldChg chg="modSp mod">
        <pc:chgData name="C.M, Roja" userId="3f7d0bc6-dbf6-4d6f-a169-d6fed478b298" providerId="ADAL" clId="{5E1FAC12-BECD-49B6-BC4D-78CFD03551EC}" dt="2024-10-09T12:41:38.457" v="822" actId="20577"/>
        <pc:sldMkLst>
          <pc:docMk/>
          <pc:sldMk cId="3128460175" sldId="414"/>
        </pc:sldMkLst>
        <pc:spChg chg="mod">
          <ac:chgData name="C.M, Roja" userId="3f7d0bc6-dbf6-4d6f-a169-d6fed478b298" providerId="ADAL" clId="{5E1FAC12-BECD-49B6-BC4D-78CFD03551EC}" dt="2024-10-09T12:41:38.457" v="822" actId="20577"/>
          <ac:spMkLst>
            <pc:docMk/>
            <pc:sldMk cId="3128460175" sldId="414"/>
            <ac:spMk id="7" creationId="{80A0F69B-72CA-54A1-0AA6-BD3C0E24AB3C}"/>
          </ac:spMkLst>
        </pc:spChg>
      </pc:sldChg>
      <pc:sldChg chg="del">
        <pc:chgData name="C.M, Roja" userId="3f7d0bc6-dbf6-4d6f-a169-d6fed478b298" providerId="ADAL" clId="{5E1FAC12-BECD-49B6-BC4D-78CFD03551EC}" dt="2024-10-08T15:19:57.489" v="0" actId="47"/>
        <pc:sldMkLst>
          <pc:docMk/>
          <pc:sldMk cId="581221078" sldId="467"/>
        </pc:sldMkLst>
      </pc:sldChg>
      <pc:sldChg chg="del">
        <pc:chgData name="C.M, Roja" userId="3f7d0bc6-dbf6-4d6f-a169-d6fed478b298" providerId="ADAL" clId="{5E1FAC12-BECD-49B6-BC4D-78CFD03551EC}" dt="2024-10-08T15:20:02.773" v="1" actId="47"/>
        <pc:sldMkLst>
          <pc:docMk/>
          <pc:sldMk cId="59020523" sldId="468"/>
        </pc:sldMkLst>
      </pc:sldChg>
      <pc:sldChg chg="modSp add del mod">
        <pc:chgData name="C.M, Roja" userId="3f7d0bc6-dbf6-4d6f-a169-d6fed478b298" providerId="ADAL" clId="{5E1FAC12-BECD-49B6-BC4D-78CFD03551EC}" dt="2024-10-08T15:40:58.532" v="221" actId="47"/>
        <pc:sldMkLst>
          <pc:docMk/>
          <pc:sldMk cId="2830994021" sldId="469"/>
        </pc:sldMkLst>
        <pc:spChg chg="mod">
          <ac:chgData name="C.M, Roja" userId="3f7d0bc6-dbf6-4d6f-a169-d6fed478b298" providerId="ADAL" clId="{5E1FAC12-BECD-49B6-BC4D-78CFD03551EC}" dt="2024-10-08T15:21:51.444" v="23" actId="20577"/>
          <ac:spMkLst>
            <pc:docMk/>
            <pc:sldMk cId="2830994021" sldId="469"/>
            <ac:spMk id="2" creationId="{3F0B0385-709B-0434-A7E5-518A70B72CB0}"/>
          </ac:spMkLst>
        </pc:spChg>
      </pc:sldChg>
      <pc:sldChg chg="del">
        <pc:chgData name="C.M, Roja" userId="3f7d0bc6-dbf6-4d6f-a169-d6fed478b298" providerId="ADAL" clId="{5E1FAC12-BECD-49B6-BC4D-78CFD03551EC}" dt="2024-10-08T15:22:07.176" v="25" actId="47"/>
        <pc:sldMkLst>
          <pc:docMk/>
          <pc:sldMk cId="904595445" sldId="470"/>
        </pc:sldMkLst>
      </pc:sldChg>
      <pc:sldChg chg="del">
        <pc:chgData name="C.M, Roja" userId="3f7d0bc6-dbf6-4d6f-a169-d6fed478b298" providerId="ADAL" clId="{5E1FAC12-BECD-49B6-BC4D-78CFD03551EC}" dt="2024-10-08T15:22:15.926" v="28" actId="47"/>
        <pc:sldMkLst>
          <pc:docMk/>
          <pc:sldMk cId="70404210" sldId="472"/>
        </pc:sldMkLst>
      </pc:sldChg>
      <pc:sldChg chg="del">
        <pc:chgData name="C.M, Roja" userId="3f7d0bc6-dbf6-4d6f-a169-d6fed478b298" providerId="ADAL" clId="{5E1FAC12-BECD-49B6-BC4D-78CFD03551EC}" dt="2024-10-08T15:22:09.560" v="26" actId="47"/>
        <pc:sldMkLst>
          <pc:docMk/>
          <pc:sldMk cId="4251520480" sldId="473"/>
        </pc:sldMkLst>
      </pc:sldChg>
      <pc:sldChg chg="del">
        <pc:chgData name="C.M, Roja" userId="3f7d0bc6-dbf6-4d6f-a169-d6fed478b298" providerId="ADAL" clId="{5E1FAC12-BECD-49B6-BC4D-78CFD03551EC}" dt="2024-10-08T15:22:16.530" v="29" actId="47"/>
        <pc:sldMkLst>
          <pc:docMk/>
          <pc:sldMk cId="3656697541" sldId="474"/>
        </pc:sldMkLst>
      </pc:sldChg>
      <pc:sldChg chg="del">
        <pc:chgData name="C.M, Roja" userId="3f7d0bc6-dbf6-4d6f-a169-d6fed478b298" providerId="ADAL" clId="{5E1FAC12-BECD-49B6-BC4D-78CFD03551EC}" dt="2024-10-08T15:22:17.759" v="30" actId="47"/>
        <pc:sldMkLst>
          <pc:docMk/>
          <pc:sldMk cId="736382978" sldId="476"/>
        </pc:sldMkLst>
      </pc:sldChg>
      <pc:sldChg chg="del">
        <pc:chgData name="C.M, Roja" userId="3f7d0bc6-dbf6-4d6f-a169-d6fed478b298" providerId="ADAL" clId="{5E1FAC12-BECD-49B6-BC4D-78CFD03551EC}" dt="2024-10-08T15:22:18.427" v="31" actId="47"/>
        <pc:sldMkLst>
          <pc:docMk/>
          <pc:sldMk cId="3842149403" sldId="478"/>
        </pc:sldMkLst>
      </pc:sldChg>
      <pc:sldChg chg="del">
        <pc:chgData name="C.M, Roja" userId="3f7d0bc6-dbf6-4d6f-a169-d6fed478b298" providerId="ADAL" clId="{5E1FAC12-BECD-49B6-BC4D-78CFD03551EC}" dt="2024-10-08T15:22:19.420" v="34" actId="47"/>
        <pc:sldMkLst>
          <pc:docMk/>
          <pc:sldMk cId="2553895418" sldId="479"/>
        </pc:sldMkLst>
      </pc:sldChg>
      <pc:sldChg chg="del">
        <pc:chgData name="C.M, Roja" userId="3f7d0bc6-dbf6-4d6f-a169-d6fed478b298" providerId="ADAL" clId="{5E1FAC12-BECD-49B6-BC4D-78CFD03551EC}" dt="2024-10-08T15:22:20.794" v="37" actId="47"/>
        <pc:sldMkLst>
          <pc:docMk/>
          <pc:sldMk cId="3203667423" sldId="480"/>
        </pc:sldMkLst>
      </pc:sldChg>
      <pc:sldChg chg="add del">
        <pc:chgData name="C.M, Roja" userId="3f7d0bc6-dbf6-4d6f-a169-d6fed478b298" providerId="ADAL" clId="{5E1FAC12-BECD-49B6-BC4D-78CFD03551EC}" dt="2024-10-08T15:22:03.642" v="24" actId="47"/>
        <pc:sldMkLst>
          <pc:docMk/>
          <pc:sldMk cId="1805609770" sldId="481"/>
        </pc:sldMkLst>
      </pc:sldChg>
      <pc:sldChg chg="del">
        <pc:chgData name="C.M, Roja" userId="3f7d0bc6-dbf6-4d6f-a169-d6fed478b298" providerId="ADAL" clId="{5E1FAC12-BECD-49B6-BC4D-78CFD03551EC}" dt="2024-10-08T15:22:14.659" v="27" actId="47"/>
        <pc:sldMkLst>
          <pc:docMk/>
          <pc:sldMk cId="1566295349" sldId="482"/>
        </pc:sldMkLst>
      </pc:sldChg>
      <pc:sldChg chg="del">
        <pc:chgData name="C.M, Roja" userId="3f7d0bc6-dbf6-4d6f-a169-d6fed478b298" providerId="ADAL" clId="{5E1FAC12-BECD-49B6-BC4D-78CFD03551EC}" dt="2024-10-08T15:22:18.842" v="32" actId="47"/>
        <pc:sldMkLst>
          <pc:docMk/>
          <pc:sldMk cId="3695154592" sldId="483"/>
        </pc:sldMkLst>
      </pc:sldChg>
      <pc:sldChg chg="del">
        <pc:chgData name="C.M, Roja" userId="3f7d0bc6-dbf6-4d6f-a169-d6fed478b298" providerId="ADAL" clId="{5E1FAC12-BECD-49B6-BC4D-78CFD03551EC}" dt="2024-10-08T15:22:19.202" v="33" actId="47"/>
        <pc:sldMkLst>
          <pc:docMk/>
          <pc:sldMk cId="1464147314" sldId="484"/>
        </pc:sldMkLst>
      </pc:sldChg>
      <pc:sldChg chg="del">
        <pc:chgData name="C.M, Roja" userId="3f7d0bc6-dbf6-4d6f-a169-d6fed478b298" providerId="ADAL" clId="{5E1FAC12-BECD-49B6-BC4D-78CFD03551EC}" dt="2024-10-08T15:22:19.776" v="35" actId="47"/>
        <pc:sldMkLst>
          <pc:docMk/>
          <pc:sldMk cId="1711242263" sldId="485"/>
        </pc:sldMkLst>
      </pc:sldChg>
      <pc:sldChg chg="del">
        <pc:chgData name="C.M, Roja" userId="3f7d0bc6-dbf6-4d6f-a169-d6fed478b298" providerId="ADAL" clId="{5E1FAC12-BECD-49B6-BC4D-78CFD03551EC}" dt="2024-10-08T15:22:20.109" v="36" actId="47"/>
        <pc:sldMkLst>
          <pc:docMk/>
          <pc:sldMk cId="1840358710" sldId="486"/>
        </pc:sldMkLst>
      </pc:sldChg>
      <pc:sldChg chg="del">
        <pc:chgData name="C.M, Roja" userId="3f7d0bc6-dbf6-4d6f-a169-d6fed478b298" providerId="ADAL" clId="{5E1FAC12-BECD-49B6-BC4D-78CFD03551EC}" dt="2024-10-09T08:22:41.084" v="313" actId="47"/>
        <pc:sldMkLst>
          <pc:docMk/>
          <pc:sldMk cId="3517144358" sldId="487"/>
        </pc:sldMkLst>
      </pc:sldChg>
      <pc:sldChg chg="del">
        <pc:chgData name="C.M, Roja" userId="3f7d0bc6-dbf6-4d6f-a169-d6fed478b298" providerId="ADAL" clId="{5E1FAC12-BECD-49B6-BC4D-78CFD03551EC}" dt="2024-10-09T08:22:46.217" v="321" actId="47"/>
        <pc:sldMkLst>
          <pc:docMk/>
          <pc:sldMk cId="1241199703" sldId="488"/>
        </pc:sldMkLst>
      </pc:sldChg>
      <pc:sldChg chg="del">
        <pc:chgData name="C.M, Roja" userId="3f7d0bc6-dbf6-4d6f-a169-d6fed478b298" providerId="ADAL" clId="{5E1FAC12-BECD-49B6-BC4D-78CFD03551EC}" dt="2024-10-09T08:22:46.551" v="322" actId="47"/>
        <pc:sldMkLst>
          <pc:docMk/>
          <pc:sldMk cId="1630711564" sldId="490"/>
        </pc:sldMkLst>
      </pc:sldChg>
      <pc:sldChg chg="modSp mod">
        <pc:chgData name="C.M, Roja" userId="3f7d0bc6-dbf6-4d6f-a169-d6fed478b298" providerId="ADAL" clId="{5E1FAC12-BECD-49B6-BC4D-78CFD03551EC}" dt="2024-10-09T12:41:47.323" v="824" actId="6549"/>
        <pc:sldMkLst>
          <pc:docMk/>
          <pc:sldMk cId="1391421164" sldId="492"/>
        </pc:sldMkLst>
        <pc:spChg chg="mod">
          <ac:chgData name="C.M, Roja" userId="3f7d0bc6-dbf6-4d6f-a169-d6fed478b298" providerId="ADAL" clId="{5E1FAC12-BECD-49B6-BC4D-78CFD03551EC}" dt="2024-10-09T12:41:47.323" v="824" actId="6549"/>
          <ac:spMkLst>
            <pc:docMk/>
            <pc:sldMk cId="1391421164" sldId="492"/>
            <ac:spMk id="3" creationId="{90900C59-9F1F-5E61-73F7-B65740A46FFA}"/>
          </ac:spMkLst>
        </pc:spChg>
        <pc:graphicFrameChg chg="mod modGraphic">
          <ac:chgData name="C.M, Roja" userId="3f7d0bc6-dbf6-4d6f-a169-d6fed478b298" providerId="ADAL" clId="{5E1FAC12-BECD-49B6-BC4D-78CFD03551EC}" dt="2024-10-09T09:49:23.469" v="789" actId="14100"/>
          <ac:graphicFrameMkLst>
            <pc:docMk/>
            <pc:sldMk cId="1391421164" sldId="492"/>
            <ac:graphicFrameMk id="8" creationId="{368874D5-189E-F6DB-3E49-A852F31A80FC}"/>
          </ac:graphicFrameMkLst>
        </pc:graphicFrameChg>
      </pc:sldChg>
      <pc:sldChg chg="del">
        <pc:chgData name="C.M, Roja" userId="3f7d0bc6-dbf6-4d6f-a169-d6fed478b298" providerId="ADAL" clId="{5E1FAC12-BECD-49B6-BC4D-78CFD03551EC}" dt="2024-10-09T08:22:42.201" v="314" actId="47"/>
        <pc:sldMkLst>
          <pc:docMk/>
          <pc:sldMk cId="1517233518" sldId="494"/>
        </pc:sldMkLst>
      </pc:sldChg>
      <pc:sldChg chg="del">
        <pc:chgData name="C.M, Roja" userId="3f7d0bc6-dbf6-4d6f-a169-d6fed478b298" providerId="ADAL" clId="{5E1FAC12-BECD-49B6-BC4D-78CFD03551EC}" dt="2024-10-09T08:22:42.667" v="315" actId="47"/>
        <pc:sldMkLst>
          <pc:docMk/>
          <pc:sldMk cId="349993756" sldId="495"/>
        </pc:sldMkLst>
      </pc:sldChg>
      <pc:sldChg chg="del">
        <pc:chgData name="C.M, Roja" userId="3f7d0bc6-dbf6-4d6f-a169-d6fed478b298" providerId="ADAL" clId="{5E1FAC12-BECD-49B6-BC4D-78CFD03551EC}" dt="2024-10-09T08:22:46.867" v="323" actId="47"/>
        <pc:sldMkLst>
          <pc:docMk/>
          <pc:sldMk cId="4099221226" sldId="496"/>
        </pc:sldMkLst>
      </pc:sldChg>
      <pc:sldChg chg="del">
        <pc:chgData name="C.M, Roja" userId="3f7d0bc6-dbf6-4d6f-a169-d6fed478b298" providerId="ADAL" clId="{5E1FAC12-BECD-49B6-BC4D-78CFD03551EC}" dt="2024-10-09T08:22:47.201" v="324" actId="47"/>
        <pc:sldMkLst>
          <pc:docMk/>
          <pc:sldMk cId="2509425644" sldId="497"/>
        </pc:sldMkLst>
      </pc:sldChg>
      <pc:sldChg chg="del">
        <pc:chgData name="C.M, Roja" userId="3f7d0bc6-dbf6-4d6f-a169-d6fed478b298" providerId="ADAL" clId="{5E1FAC12-BECD-49B6-BC4D-78CFD03551EC}" dt="2024-10-09T08:22:47.634" v="325" actId="47"/>
        <pc:sldMkLst>
          <pc:docMk/>
          <pc:sldMk cId="3670604289" sldId="498"/>
        </pc:sldMkLst>
      </pc:sldChg>
      <pc:sldChg chg="del">
        <pc:chgData name="C.M, Roja" userId="3f7d0bc6-dbf6-4d6f-a169-d6fed478b298" providerId="ADAL" clId="{5E1FAC12-BECD-49B6-BC4D-78CFD03551EC}" dt="2024-10-09T08:22:43.217" v="316" actId="47"/>
        <pc:sldMkLst>
          <pc:docMk/>
          <pc:sldMk cId="2682404902" sldId="499"/>
        </pc:sldMkLst>
      </pc:sldChg>
      <pc:sldChg chg="del">
        <pc:chgData name="C.M, Roja" userId="3f7d0bc6-dbf6-4d6f-a169-d6fed478b298" providerId="ADAL" clId="{5E1FAC12-BECD-49B6-BC4D-78CFD03551EC}" dt="2024-10-09T08:22:45.534" v="319" actId="47"/>
        <pc:sldMkLst>
          <pc:docMk/>
          <pc:sldMk cId="3755771359" sldId="500"/>
        </pc:sldMkLst>
      </pc:sldChg>
      <pc:sldChg chg="del">
        <pc:chgData name="C.M, Roja" userId="3f7d0bc6-dbf6-4d6f-a169-d6fed478b298" providerId="ADAL" clId="{5E1FAC12-BECD-49B6-BC4D-78CFD03551EC}" dt="2024-10-09T08:22:45.934" v="320" actId="47"/>
        <pc:sldMkLst>
          <pc:docMk/>
          <pc:sldMk cId="1586127184" sldId="501"/>
        </pc:sldMkLst>
      </pc:sldChg>
      <pc:sldChg chg="del">
        <pc:chgData name="C.M, Roja" userId="3f7d0bc6-dbf6-4d6f-a169-d6fed478b298" providerId="ADAL" clId="{5E1FAC12-BECD-49B6-BC4D-78CFD03551EC}" dt="2024-10-09T08:22:43.733" v="317" actId="47"/>
        <pc:sldMkLst>
          <pc:docMk/>
          <pc:sldMk cId="2104016211" sldId="502"/>
        </pc:sldMkLst>
      </pc:sldChg>
      <pc:sldChg chg="del">
        <pc:chgData name="C.M, Roja" userId="3f7d0bc6-dbf6-4d6f-a169-d6fed478b298" providerId="ADAL" clId="{5E1FAC12-BECD-49B6-BC4D-78CFD03551EC}" dt="2024-10-09T08:22:44.500" v="318" actId="47"/>
        <pc:sldMkLst>
          <pc:docMk/>
          <pc:sldMk cId="1295995000" sldId="503"/>
        </pc:sldMkLst>
      </pc:sldChg>
      <pc:sldChg chg="del">
        <pc:chgData name="C.M, Roja" userId="3f7d0bc6-dbf6-4d6f-a169-d6fed478b298" providerId="ADAL" clId="{5E1FAC12-BECD-49B6-BC4D-78CFD03551EC}" dt="2024-10-09T08:22:49.351" v="326" actId="47"/>
        <pc:sldMkLst>
          <pc:docMk/>
          <pc:sldMk cId="2692952276" sldId="504"/>
        </pc:sldMkLst>
      </pc:sldChg>
      <pc:sldChg chg="addSp delSp modSp new mod modNotesTx">
        <pc:chgData name="C.M, Roja" userId="3f7d0bc6-dbf6-4d6f-a169-d6fed478b298" providerId="ADAL" clId="{5E1FAC12-BECD-49B6-BC4D-78CFD03551EC}" dt="2024-10-09T10:03:58.163" v="800" actId="20577"/>
        <pc:sldMkLst>
          <pc:docMk/>
          <pc:sldMk cId="3616240891" sldId="505"/>
        </pc:sldMkLst>
        <pc:spChg chg="mod">
          <ac:chgData name="C.M, Roja" userId="3f7d0bc6-dbf6-4d6f-a169-d6fed478b298" providerId="ADAL" clId="{5E1FAC12-BECD-49B6-BC4D-78CFD03551EC}" dt="2024-10-09T10:03:58.163" v="800" actId="20577"/>
          <ac:spMkLst>
            <pc:docMk/>
            <pc:sldMk cId="3616240891" sldId="505"/>
            <ac:spMk id="2" creationId="{5DED1442-2BF0-0E9B-C614-9220C28A3C92}"/>
          </ac:spMkLst>
        </pc:spChg>
        <pc:spChg chg="del">
          <ac:chgData name="C.M, Roja" userId="3f7d0bc6-dbf6-4d6f-a169-d6fed478b298" providerId="ADAL" clId="{5E1FAC12-BECD-49B6-BC4D-78CFD03551EC}" dt="2024-10-09T07:27:57.960" v="223"/>
          <ac:spMkLst>
            <pc:docMk/>
            <pc:sldMk cId="3616240891" sldId="505"/>
            <ac:spMk id="3" creationId="{616388E4-14F8-A8A8-ADAE-6D23B7797CFD}"/>
          </ac:spMkLst>
        </pc:spChg>
        <pc:spChg chg="del">
          <ac:chgData name="C.M, Roja" userId="3f7d0bc6-dbf6-4d6f-a169-d6fed478b298" providerId="ADAL" clId="{5E1FAC12-BECD-49B6-BC4D-78CFD03551EC}" dt="2024-10-09T06:43:16.544" v="222" actId="478"/>
          <ac:spMkLst>
            <pc:docMk/>
            <pc:sldMk cId="3616240891" sldId="505"/>
            <ac:spMk id="4" creationId="{44228A2E-A43F-5FD0-D058-F398AD1A73E6}"/>
          </ac:spMkLst>
        </pc:spChg>
        <pc:graphicFrameChg chg="add mod modGraphic">
          <ac:chgData name="C.M, Roja" userId="3f7d0bc6-dbf6-4d6f-a169-d6fed478b298" providerId="ADAL" clId="{5E1FAC12-BECD-49B6-BC4D-78CFD03551EC}" dt="2024-10-09T07:29:28.173" v="239" actId="255"/>
          <ac:graphicFrameMkLst>
            <pc:docMk/>
            <pc:sldMk cId="3616240891" sldId="505"/>
            <ac:graphicFrameMk id="5" creationId="{5C6BB42C-189F-2B1B-5160-398F072E3161}"/>
          </ac:graphicFrameMkLst>
        </pc:graphicFrameChg>
        <pc:graphicFrameChg chg="add mod">
          <ac:chgData name="C.M, Roja" userId="3f7d0bc6-dbf6-4d6f-a169-d6fed478b298" providerId="ADAL" clId="{5E1FAC12-BECD-49B6-BC4D-78CFD03551EC}" dt="2024-10-09T09:12:59.781" v="649"/>
          <ac:graphicFrameMkLst>
            <pc:docMk/>
            <pc:sldMk cId="3616240891" sldId="505"/>
            <ac:graphicFrameMk id="6" creationId="{806533C2-9E9A-0751-32B9-FE6FD34423AE}"/>
          </ac:graphicFrameMkLst>
        </pc:graphicFrameChg>
      </pc:sldChg>
      <pc:sldChg chg="addSp delSp modSp new mod modNotesTx">
        <pc:chgData name="C.M, Roja" userId="3f7d0bc6-dbf6-4d6f-a169-d6fed478b298" providerId="ADAL" clId="{5E1FAC12-BECD-49B6-BC4D-78CFD03551EC}" dt="2024-10-15T07:24:57.826" v="832" actId="14734"/>
        <pc:sldMkLst>
          <pc:docMk/>
          <pc:sldMk cId="2208439221" sldId="506"/>
        </pc:sldMkLst>
        <pc:spChg chg="mod">
          <ac:chgData name="C.M, Roja" userId="3f7d0bc6-dbf6-4d6f-a169-d6fed478b298" providerId="ADAL" clId="{5E1FAC12-BECD-49B6-BC4D-78CFD03551EC}" dt="2024-10-09T08:48:47.075" v="646" actId="20577"/>
          <ac:spMkLst>
            <pc:docMk/>
            <pc:sldMk cId="2208439221" sldId="506"/>
            <ac:spMk id="2" creationId="{E5856A75-3999-91A9-739F-AA729F17827F}"/>
          </ac:spMkLst>
        </pc:spChg>
        <pc:spChg chg="add del">
          <ac:chgData name="C.M, Roja" userId="3f7d0bc6-dbf6-4d6f-a169-d6fed478b298" providerId="ADAL" clId="{5E1FAC12-BECD-49B6-BC4D-78CFD03551EC}" dt="2024-10-09T09:23:50.877" v="666"/>
          <ac:spMkLst>
            <pc:docMk/>
            <pc:sldMk cId="2208439221" sldId="506"/>
            <ac:spMk id="3" creationId="{0FD68753-F2A4-6A35-E2EC-D3D5454D59CB}"/>
          </ac:spMkLst>
        </pc:spChg>
        <pc:spChg chg="del">
          <ac:chgData name="C.M, Roja" userId="3f7d0bc6-dbf6-4d6f-a169-d6fed478b298" providerId="ADAL" clId="{5E1FAC12-BECD-49B6-BC4D-78CFD03551EC}" dt="2024-10-09T08:48:15.693" v="634" actId="478"/>
          <ac:spMkLst>
            <pc:docMk/>
            <pc:sldMk cId="2208439221" sldId="506"/>
            <ac:spMk id="4" creationId="{BF12AC6D-DC61-AC82-C0C6-DD8F6EF1A46B}"/>
          </ac:spMkLst>
        </pc:spChg>
        <pc:spChg chg="add mod">
          <ac:chgData name="C.M, Roja" userId="3f7d0bc6-dbf6-4d6f-a169-d6fed478b298" providerId="ADAL" clId="{5E1FAC12-BECD-49B6-BC4D-78CFD03551EC}" dt="2024-10-09T09:51:24.338" v="796"/>
          <ac:spMkLst>
            <pc:docMk/>
            <pc:sldMk cId="2208439221" sldId="506"/>
            <ac:spMk id="8" creationId="{94C2835C-85CD-6B79-2D65-7812E47DBE6C}"/>
          </ac:spMkLst>
        </pc:spChg>
        <pc:graphicFrameChg chg="add mod modGraphic">
          <ac:chgData name="C.M, Roja" userId="3f7d0bc6-dbf6-4d6f-a169-d6fed478b298" providerId="ADAL" clId="{5E1FAC12-BECD-49B6-BC4D-78CFD03551EC}" dt="2024-10-09T09:23:48.710" v="665"/>
          <ac:graphicFrameMkLst>
            <pc:docMk/>
            <pc:sldMk cId="2208439221" sldId="506"/>
            <ac:graphicFrameMk id="5" creationId="{4EE7FC8C-9BE3-41FC-7576-221FC248ABD8}"/>
          </ac:graphicFrameMkLst>
        </pc:graphicFrameChg>
        <pc:graphicFrameChg chg="add del mod modGraphic">
          <ac:chgData name="C.M, Roja" userId="3f7d0bc6-dbf6-4d6f-a169-d6fed478b298" providerId="ADAL" clId="{5E1FAC12-BECD-49B6-BC4D-78CFD03551EC}" dt="2024-10-09T09:24:07.913" v="669" actId="478"/>
          <ac:graphicFrameMkLst>
            <pc:docMk/>
            <pc:sldMk cId="2208439221" sldId="506"/>
            <ac:graphicFrameMk id="6" creationId="{724006A7-BEE9-FDDC-CB2F-76227A7374B5}"/>
          </ac:graphicFrameMkLst>
        </pc:graphicFrameChg>
        <pc:graphicFrameChg chg="add mod">
          <ac:chgData name="C.M, Roja" userId="3f7d0bc6-dbf6-4d6f-a169-d6fed478b298" providerId="ADAL" clId="{5E1FAC12-BECD-49B6-BC4D-78CFD03551EC}" dt="2024-10-09T09:24:36.928" v="683"/>
          <ac:graphicFrameMkLst>
            <pc:docMk/>
            <pc:sldMk cId="2208439221" sldId="506"/>
            <ac:graphicFrameMk id="9" creationId="{E2C38993-9DC2-E60F-7725-E61DCDF9F026}"/>
          </ac:graphicFrameMkLst>
        </pc:graphicFrameChg>
        <pc:graphicFrameChg chg="add mod modGraphic">
          <ac:chgData name="C.M, Roja" userId="3f7d0bc6-dbf6-4d6f-a169-d6fed478b298" providerId="ADAL" clId="{5E1FAC12-BECD-49B6-BC4D-78CFD03551EC}" dt="2024-10-15T07:24:57.826" v="832" actId="14734"/>
          <ac:graphicFrameMkLst>
            <pc:docMk/>
            <pc:sldMk cId="2208439221" sldId="506"/>
            <ac:graphicFrameMk id="10" creationId="{8ED1EF28-3073-CFE9-1825-E59834561A28}"/>
          </ac:graphicFrameMkLst>
        </pc:graphicFrameChg>
      </pc:sldChg>
      <pc:sldChg chg="addSp delSp modSp new mod modNotesTx">
        <pc:chgData name="C.M, Roja" userId="3f7d0bc6-dbf6-4d6f-a169-d6fed478b298" providerId="ADAL" clId="{5E1FAC12-BECD-49B6-BC4D-78CFD03551EC}" dt="2024-10-09T12:43:03.529" v="830"/>
        <pc:sldMkLst>
          <pc:docMk/>
          <pc:sldMk cId="3385106528" sldId="507"/>
        </pc:sldMkLst>
        <pc:spChg chg="mod">
          <ac:chgData name="C.M, Roja" userId="3f7d0bc6-dbf6-4d6f-a169-d6fed478b298" providerId="ADAL" clId="{5E1FAC12-BECD-49B6-BC4D-78CFD03551EC}" dt="2024-10-09T10:04:03.038" v="804" actId="20577"/>
          <ac:spMkLst>
            <pc:docMk/>
            <pc:sldMk cId="3385106528" sldId="507"/>
            <ac:spMk id="2" creationId="{A94101E0-D49E-4B2E-5CAB-5F6DC738FFCA}"/>
          </ac:spMkLst>
        </pc:spChg>
        <pc:spChg chg="del">
          <ac:chgData name="C.M, Roja" userId="3f7d0bc6-dbf6-4d6f-a169-d6fed478b298" providerId="ADAL" clId="{5E1FAC12-BECD-49B6-BC4D-78CFD03551EC}" dt="2024-10-09T09:15:28.502" v="651"/>
          <ac:spMkLst>
            <pc:docMk/>
            <pc:sldMk cId="3385106528" sldId="507"/>
            <ac:spMk id="3" creationId="{D5377315-0006-CE06-0333-B8EB4482BAA1}"/>
          </ac:spMkLst>
        </pc:spChg>
        <pc:spChg chg="del">
          <ac:chgData name="C.M, Roja" userId="3f7d0bc6-dbf6-4d6f-a169-d6fed478b298" providerId="ADAL" clId="{5E1FAC12-BECD-49B6-BC4D-78CFD03551EC}" dt="2024-10-09T09:16:13.568" v="659" actId="478"/>
          <ac:spMkLst>
            <pc:docMk/>
            <pc:sldMk cId="3385106528" sldId="507"/>
            <ac:spMk id="4" creationId="{D9EC4694-27CE-FDE5-B297-CB1C14BB342D}"/>
          </ac:spMkLst>
        </pc:spChg>
        <pc:graphicFrameChg chg="add mod modGraphic">
          <ac:chgData name="C.M, Roja" userId="3f7d0bc6-dbf6-4d6f-a169-d6fed478b298" providerId="ADAL" clId="{5E1FAC12-BECD-49B6-BC4D-78CFD03551EC}" dt="2024-10-09T09:16:07.862" v="658" actId="14100"/>
          <ac:graphicFrameMkLst>
            <pc:docMk/>
            <pc:sldMk cId="3385106528" sldId="507"/>
            <ac:graphicFrameMk id="5" creationId="{BAC5014B-7829-624B-C9EC-38DB81BDC764}"/>
          </ac:graphicFrameMkLst>
        </pc:graphicFrameChg>
        <pc:graphicFrameChg chg="add mod">
          <ac:chgData name="C.M, Roja" userId="3f7d0bc6-dbf6-4d6f-a169-d6fed478b298" providerId="ADAL" clId="{5E1FAC12-BECD-49B6-BC4D-78CFD03551EC}" dt="2024-10-09T09:17:14.120" v="661" actId="1076"/>
          <ac:graphicFrameMkLst>
            <pc:docMk/>
            <pc:sldMk cId="3385106528" sldId="507"/>
            <ac:graphicFrameMk id="6" creationId="{8986E686-812B-8C57-2E82-E8B5E155AF32}"/>
          </ac:graphicFrameMkLst>
        </pc:graphicFrameChg>
      </pc:sldChg>
      <pc:sldChg chg="new del">
        <pc:chgData name="C.M, Roja" userId="3f7d0bc6-dbf6-4d6f-a169-d6fed478b298" providerId="ADAL" clId="{5E1FAC12-BECD-49B6-BC4D-78CFD03551EC}" dt="2024-10-15T14:04:14.382" v="835" actId="47"/>
        <pc:sldMkLst>
          <pc:docMk/>
          <pc:sldMk cId="3282686745" sldId="508"/>
        </pc:sldMkLst>
      </pc:sldChg>
      <pc:sldChg chg="addSp delSp modSp add mod ord">
        <pc:chgData name="C.M, Roja" userId="3f7d0bc6-dbf6-4d6f-a169-d6fed478b298" providerId="ADAL" clId="{5E1FAC12-BECD-49B6-BC4D-78CFD03551EC}" dt="2024-10-17T09:17:30.268" v="1000" actId="1036"/>
        <pc:sldMkLst>
          <pc:docMk/>
          <pc:sldMk cId="3418295551" sldId="509"/>
        </pc:sldMkLst>
        <pc:spChg chg="del">
          <ac:chgData name="C.M, Roja" userId="3f7d0bc6-dbf6-4d6f-a169-d6fed478b298" providerId="ADAL" clId="{5E1FAC12-BECD-49B6-BC4D-78CFD03551EC}" dt="2024-10-15T14:26:33.846" v="849" actId="478"/>
          <ac:spMkLst>
            <pc:docMk/>
            <pc:sldMk cId="3418295551" sldId="509"/>
            <ac:spMk id="4" creationId="{4D4F6E28-F9C8-5A42-CE77-CDD243379D01}"/>
          </ac:spMkLst>
        </pc:spChg>
        <pc:spChg chg="add del mod">
          <ac:chgData name="C.M, Roja" userId="3f7d0bc6-dbf6-4d6f-a169-d6fed478b298" providerId="ADAL" clId="{5E1FAC12-BECD-49B6-BC4D-78CFD03551EC}" dt="2024-10-16T08:32:06.365" v="919"/>
          <ac:spMkLst>
            <pc:docMk/>
            <pc:sldMk cId="3418295551" sldId="509"/>
            <ac:spMk id="4" creationId="{AD4688BC-875F-52B2-6D81-926B70F6220C}"/>
          </ac:spMkLst>
        </pc:spChg>
        <pc:spChg chg="add del mod">
          <ac:chgData name="C.M, Roja" userId="3f7d0bc6-dbf6-4d6f-a169-d6fed478b298" providerId="ADAL" clId="{5E1FAC12-BECD-49B6-BC4D-78CFD03551EC}" dt="2024-10-16T10:10:34.922" v="928"/>
          <ac:spMkLst>
            <pc:docMk/>
            <pc:sldMk cId="3418295551" sldId="509"/>
            <ac:spMk id="7" creationId="{3E8F7637-A69F-BA18-68CE-30A8B588E2FD}"/>
          </ac:spMkLst>
        </pc:spChg>
        <pc:graphicFrameChg chg="add del mod modGraphic">
          <ac:chgData name="C.M, Roja" userId="3f7d0bc6-dbf6-4d6f-a169-d6fed478b298" providerId="ADAL" clId="{5E1FAC12-BECD-49B6-BC4D-78CFD03551EC}" dt="2024-10-16T10:09:36.082" v="927" actId="478"/>
          <ac:graphicFrameMkLst>
            <pc:docMk/>
            <pc:sldMk cId="3418295551" sldId="509"/>
            <ac:graphicFrameMk id="5" creationId="{0FE1490A-3131-6D57-D32E-4CBD6119C4E3}"/>
          </ac:graphicFrameMkLst>
        </pc:graphicFrameChg>
        <pc:graphicFrameChg chg="add mod modGraphic">
          <ac:chgData name="C.M, Roja" userId="3f7d0bc6-dbf6-4d6f-a169-d6fed478b298" providerId="ADAL" clId="{5E1FAC12-BECD-49B6-BC4D-78CFD03551EC}" dt="2024-10-17T09:17:30.268" v="1000" actId="1036"/>
          <ac:graphicFrameMkLst>
            <pc:docMk/>
            <pc:sldMk cId="3418295551" sldId="509"/>
            <ac:graphicFrameMk id="8" creationId="{C3A324F8-95F9-A9D2-0978-4CE085988CFE}"/>
          </ac:graphicFrameMkLst>
        </pc:graphicFrameChg>
        <pc:graphicFrameChg chg="del mod modGraphic">
          <ac:chgData name="C.M, Roja" userId="3f7d0bc6-dbf6-4d6f-a169-d6fed478b298" providerId="ADAL" clId="{5E1FAC12-BECD-49B6-BC4D-78CFD03551EC}" dt="2024-10-16T08:32:05.688" v="918" actId="478"/>
          <ac:graphicFrameMkLst>
            <pc:docMk/>
            <pc:sldMk cId="3418295551" sldId="509"/>
            <ac:graphicFrameMk id="11" creationId="{F90E8861-B486-2C06-0F22-B012DF63C2D8}"/>
          </ac:graphicFrameMkLst>
        </pc:graphicFrameChg>
      </pc:sldChg>
      <pc:sldChg chg="modSp add del mod ord">
        <pc:chgData name="C.M, Roja" userId="3f7d0bc6-dbf6-4d6f-a169-d6fed478b298" providerId="ADAL" clId="{5E1FAC12-BECD-49B6-BC4D-78CFD03551EC}" dt="2024-10-16T10:53:10.858" v="999"/>
        <pc:sldMkLst>
          <pc:docMk/>
          <pc:sldMk cId="3670066245" sldId="510"/>
        </pc:sldMkLst>
        <pc:spChg chg="mod">
          <ac:chgData name="C.M, Roja" userId="3f7d0bc6-dbf6-4d6f-a169-d6fed478b298" providerId="ADAL" clId="{5E1FAC12-BECD-49B6-BC4D-78CFD03551EC}" dt="2024-10-16T10:52:55.040" v="997" actId="20577"/>
          <ac:spMkLst>
            <pc:docMk/>
            <pc:sldMk cId="3670066245" sldId="510"/>
            <ac:spMk id="20" creationId="{18C344C6-AE3E-2676-1D8D-78D0A926AC6D}"/>
          </ac:spMkLst>
        </pc:spChg>
      </pc:sldChg>
      <pc:sldChg chg="delSp add mod">
        <pc:chgData name="C.M, Roja" userId="3f7d0bc6-dbf6-4d6f-a169-d6fed478b298" providerId="ADAL" clId="{5E1FAC12-BECD-49B6-BC4D-78CFD03551EC}" dt="2024-10-16T07:52:09.513" v="869" actId="478"/>
        <pc:sldMkLst>
          <pc:docMk/>
          <pc:sldMk cId="1929583867" sldId="511"/>
        </pc:sldMkLst>
        <pc:spChg chg="del">
          <ac:chgData name="C.M, Roja" userId="3f7d0bc6-dbf6-4d6f-a169-d6fed478b298" providerId="ADAL" clId="{5E1FAC12-BECD-49B6-BC4D-78CFD03551EC}" dt="2024-10-16T07:52:09.513" v="869" actId="478"/>
          <ac:spMkLst>
            <pc:docMk/>
            <pc:sldMk cId="1929583867" sldId="511"/>
            <ac:spMk id="4" creationId="{1C5BEDE1-B5CC-105E-0A1A-2E8963DA4E97}"/>
          </ac:spMkLst>
        </pc:spChg>
      </pc:sldChg>
      <pc:sldChg chg="new del">
        <pc:chgData name="C.M, Roja" userId="3f7d0bc6-dbf6-4d6f-a169-d6fed478b298" providerId="ADAL" clId="{5E1FAC12-BECD-49B6-BC4D-78CFD03551EC}" dt="2024-10-15T14:05:42.172" v="838" actId="47"/>
        <pc:sldMkLst>
          <pc:docMk/>
          <pc:sldMk cId="2106179617" sldId="511"/>
        </pc:sldMkLst>
      </pc:sldChg>
      <pc:sldChg chg="addSp delSp modSp new mod">
        <pc:chgData name="C.M, Roja" userId="3f7d0bc6-dbf6-4d6f-a169-d6fed478b298" providerId="ADAL" clId="{5E1FAC12-BECD-49B6-BC4D-78CFD03551EC}" dt="2024-10-16T07:55:23.133" v="883" actId="14100"/>
        <pc:sldMkLst>
          <pc:docMk/>
          <pc:sldMk cId="1204629232" sldId="512"/>
        </pc:sldMkLst>
        <pc:spChg chg="mod">
          <ac:chgData name="C.M, Roja" userId="3f7d0bc6-dbf6-4d6f-a169-d6fed478b298" providerId="ADAL" clId="{5E1FAC12-BECD-49B6-BC4D-78CFD03551EC}" dt="2024-10-16T07:51:54.713" v="867" actId="20577"/>
          <ac:spMkLst>
            <pc:docMk/>
            <pc:sldMk cId="1204629232" sldId="512"/>
            <ac:spMk id="2" creationId="{A71A8934-5492-C524-AB84-775BDBDC9360}"/>
          </ac:spMkLst>
        </pc:spChg>
        <pc:spChg chg="del">
          <ac:chgData name="C.M, Roja" userId="3f7d0bc6-dbf6-4d6f-a169-d6fed478b298" providerId="ADAL" clId="{5E1FAC12-BECD-49B6-BC4D-78CFD03551EC}" dt="2024-10-16T07:53:43.682" v="870" actId="22"/>
          <ac:spMkLst>
            <pc:docMk/>
            <pc:sldMk cId="1204629232" sldId="512"/>
            <ac:spMk id="3" creationId="{28D1EB06-8652-83BA-575A-684CF0B9194B}"/>
          </ac:spMkLst>
        </pc:spChg>
        <pc:spChg chg="del">
          <ac:chgData name="C.M, Roja" userId="3f7d0bc6-dbf6-4d6f-a169-d6fed478b298" providerId="ADAL" clId="{5E1FAC12-BECD-49B6-BC4D-78CFD03551EC}" dt="2024-10-16T07:51:58.923" v="868" actId="478"/>
          <ac:spMkLst>
            <pc:docMk/>
            <pc:sldMk cId="1204629232" sldId="512"/>
            <ac:spMk id="4" creationId="{A0CD340E-1D3B-E537-E8B1-B74D7DA61DF9}"/>
          </ac:spMkLst>
        </pc:spChg>
        <pc:spChg chg="add del mod">
          <ac:chgData name="C.M, Roja" userId="3f7d0bc6-dbf6-4d6f-a169-d6fed478b298" providerId="ADAL" clId="{5E1FAC12-BECD-49B6-BC4D-78CFD03551EC}" dt="2024-10-16T07:54:24.657" v="874"/>
          <ac:spMkLst>
            <pc:docMk/>
            <pc:sldMk cId="1204629232" sldId="512"/>
            <ac:spMk id="8" creationId="{B19DBBA9-9971-1B54-C066-677E14C057F2}"/>
          </ac:spMkLst>
        </pc:spChg>
        <pc:graphicFrameChg chg="add mod modGraphic">
          <ac:chgData name="C.M, Roja" userId="3f7d0bc6-dbf6-4d6f-a169-d6fed478b298" providerId="ADAL" clId="{5E1FAC12-BECD-49B6-BC4D-78CFD03551EC}" dt="2024-10-16T07:55:23.133" v="883" actId="14100"/>
          <ac:graphicFrameMkLst>
            <pc:docMk/>
            <pc:sldMk cId="1204629232" sldId="512"/>
            <ac:graphicFrameMk id="9" creationId="{FBEB696E-15D7-00F6-53A8-93992E6F2334}"/>
          </ac:graphicFrameMkLst>
        </pc:graphicFrameChg>
        <pc:picChg chg="add del mod ord">
          <ac:chgData name="C.M, Roja" userId="3f7d0bc6-dbf6-4d6f-a169-d6fed478b298" providerId="ADAL" clId="{5E1FAC12-BECD-49B6-BC4D-78CFD03551EC}" dt="2024-10-16T07:54:13.658" v="873" actId="478"/>
          <ac:picMkLst>
            <pc:docMk/>
            <pc:sldMk cId="1204629232" sldId="512"/>
            <ac:picMk id="6" creationId="{C4A24357-F2B1-3F8C-DC95-B6BFFFDF3B8D}"/>
          </ac:picMkLst>
        </pc:picChg>
      </pc:sldChg>
      <pc:sldChg chg="addSp delSp modSp new mod">
        <pc:chgData name="C.M, Roja" userId="3f7d0bc6-dbf6-4d6f-a169-d6fed478b298" providerId="ADAL" clId="{5E1FAC12-BECD-49B6-BC4D-78CFD03551EC}" dt="2024-10-16T08:06:45.495" v="917" actId="255"/>
        <pc:sldMkLst>
          <pc:docMk/>
          <pc:sldMk cId="3150749638" sldId="513"/>
        </pc:sldMkLst>
        <pc:spChg chg="mod">
          <ac:chgData name="C.M, Roja" userId="3f7d0bc6-dbf6-4d6f-a169-d6fed478b298" providerId="ADAL" clId="{5E1FAC12-BECD-49B6-BC4D-78CFD03551EC}" dt="2024-10-16T08:05:08.182" v="906" actId="20577"/>
          <ac:spMkLst>
            <pc:docMk/>
            <pc:sldMk cId="3150749638" sldId="513"/>
            <ac:spMk id="2" creationId="{82DAB2FF-FCDD-4FA4-A5BA-4DBAD45813F4}"/>
          </ac:spMkLst>
        </pc:spChg>
        <pc:spChg chg="del">
          <ac:chgData name="C.M, Roja" userId="3f7d0bc6-dbf6-4d6f-a169-d6fed478b298" providerId="ADAL" clId="{5E1FAC12-BECD-49B6-BC4D-78CFD03551EC}" dt="2024-10-16T08:06:05.887" v="908"/>
          <ac:spMkLst>
            <pc:docMk/>
            <pc:sldMk cId="3150749638" sldId="513"/>
            <ac:spMk id="3" creationId="{A4EF8ECF-83D7-99A4-7873-71905C4DF39B}"/>
          </ac:spMkLst>
        </pc:spChg>
        <pc:spChg chg="del">
          <ac:chgData name="C.M, Roja" userId="3f7d0bc6-dbf6-4d6f-a169-d6fed478b298" providerId="ADAL" clId="{5E1FAC12-BECD-49B6-BC4D-78CFD03551EC}" dt="2024-10-16T08:05:12.515" v="907" actId="478"/>
          <ac:spMkLst>
            <pc:docMk/>
            <pc:sldMk cId="3150749638" sldId="513"/>
            <ac:spMk id="4" creationId="{67ED58F8-C326-F9BF-2745-23EA522F6E40}"/>
          </ac:spMkLst>
        </pc:spChg>
        <pc:graphicFrameChg chg="add mod modGraphic">
          <ac:chgData name="C.M, Roja" userId="3f7d0bc6-dbf6-4d6f-a169-d6fed478b298" providerId="ADAL" clId="{5E1FAC12-BECD-49B6-BC4D-78CFD03551EC}" dt="2024-10-16T08:06:45.495" v="917" actId="255"/>
          <ac:graphicFrameMkLst>
            <pc:docMk/>
            <pc:sldMk cId="3150749638" sldId="513"/>
            <ac:graphicFrameMk id="5" creationId="{4B093BF0-6AC7-C381-EC08-802A99295C83}"/>
          </ac:graphicFrameMkLst>
        </pc:graphicFrameChg>
      </pc:sldChg>
      <pc:sldChg chg="addSp delSp modSp new mod">
        <pc:chgData name="C.M, Roja" userId="3f7d0bc6-dbf6-4d6f-a169-d6fed478b298" providerId="ADAL" clId="{5E1FAC12-BECD-49B6-BC4D-78CFD03551EC}" dt="2024-10-17T14:36:55.147" v="1068" actId="20577"/>
        <pc:sldMkLst>
          <pc:docMk/>
          <pc:sldMk cId="2442918404" sldId="514"/>
        </pc:sldMkLst>
        <pc:spChg chg="mod">
          <ac:chgData name="C.M, Roja" userId="3f7d0bc6-dbf6-4d6f-a169-d6fed478b298" providerId="ADAL" clId="{5E1FAC12-BECD-49B6-BC4D-78CFD03551EC}" dt="2024-10-17T14:35:19.946" v="1042" actId="313"/>
          <ac:spMkLst>
            <pc:docMk/>
            <pc:sldMk cId="2442918404" sldId="514"/>
            <ac:spMk id="2" creationId="{C2A880F3-BDD7-0E47-5B04-F2F450A98577}"/>
          </ac:spMkLst>
        </pc:spChg>
        <pc:spChg chg="add del">
          <ac:chgData name="C.M, Roja" userId="3f7d0bc6-dbf6-4d6f-a169-d6fed478b298" providerId="ADAL" clId="{5E1FAC12-BECD-49B6-BC4D-78CFD03551EC}" dt="2024-10-17T14:35:53.213" v="1045"/>
          <ac:spMkLst>
            <pc:docMk/>
            <pc:sldMk cId="2442918404" sldId="514"/>
            <ac:spMk id="3" creationId="{6B37A152-4F53-94C2-63D2-F522E68E5CBD}"/>
          </ac:spMkLst>
        </pc:spChg>
        <pc:spChg chg="del">
          <ac:chgData name="C.M, Roja" userId="3f7d0bc6-dbf6-4d6f-a169-d6fed478b298" providerId="ADAL" clId="{5E1FAC12-BECD-49B6-BC4D-78CFD03551EC}" dt="2024-10-17T14:36:39.022" v="1055" actId="478"/>
          <ac:spMkLst>
            <pc:docMk/>
            <pc:sldMk cId="2442918404" sldId="514"/>
            <ac:spMk id="4" creationId="{77340C41-46D4-D967-9036-8A8D7E8C09EB}"/>
          </ac:spMkLst>
        </pc:spChg>
        <pc:graphicFrameChg chg="add mod">
          <ac:chgData name="C.M, Roja" userId="3f7d0bc6-dbf6-4d6f-a169-d6fed478b298" providerId="ADAL" clId="{5E1FAC12-BECD-49B6-BC4D-78CFD03551EC}" dt="2024-10-17T14:35:49.158" v="1044"/>
          <ac:graphicFrameMkLst>
            <pc:docMk/>
            <pc:sldMk cId="2442918404" sldId="514"/>
            <ac:graphicFrameMk id="5" creationId="{5B140EA6-601F-1629-F668-A33251B3949C}"/>
          </ac:graphicFrameMkLst>
        </pc:graphicFrameChg>
        <pc:graphicFrameChg chg="add mod modGraphic">
          <ac:chgData name="C.M, Roja" userId="3f7d0bc6-dbf6-4d6f-a169-d6fed478b298" providerId="ADAL" clId="{5E1FAC12-BECD-49B6-BC4D-78CFD03551EC}" dt="2024-10-17T14:36:55.147" v="1068" actId="20577"/>
          <ac:graphicFrameMkLst>
            <pc:docMk/>
            <pc:sldMk cId="2442918404" sldId="514"/>
            <ac:graphicFrameMk id="6" creationId="{2B346614-9B0D-C643-F111-68F730868C89}"/>
          </ac:graphicFrameMkLst>
        </pc:graphicFrameChg>
      </pc:sldChg>
      <pc:sldChg chg="addSp delSp modSp new mod">
        <pc:chgData name="C.M, Roja" userId="3f7d0bc6-dbf6-4d6f-a169-d6fed478b298" providerId="ADAL" clId="{5E1FAC12-BECD-49B6-BC4D-78CFD03551EC}" dt="2024-10-17T14:44:29.047" v="1080" actId="27918"/>
        <pc:sldMkLst>
          <pc:docMk/>
          <pc:sldMk cId="3175563102" sldId="515"/>
        </pc:sldMkLst>
        <pc:spChg chg="mod">
          <ac:chgData name="C.M, Roja" userId="3f7d0bc6-dbf6-4d6f-a169-d6fed478b298" providerId="ADAL" clId="{5E1FAC12-BECD-49B6-BC4D-78CFD03551EC}" dt="2024-10-17T14:38:18.417" v="1070"/>
          <ac:spMkLst>
            <pc:docMk/>
            <pc:sldMk cId="3175563102" sldId="515"/>
            <ac:spMk id="2" creationId="{D7FC9521-95BD-AB80-F57A-78B953EB61D2}"/>
          </ac:spMkLst>
        </pc:spChg>
        <pc:spChg chg="add del">
          <ac:chgData name="C.M, Roja" userId="3f7d0bc6-dbf6-4d6f-a169-d6fed478b298" providerId="ADAL" clId="{5E1FAC12-BECD-49B6-BC4D-78CFD03551EC}" dt="2024-10-17T14:40:04.685" v="1077"/>
          <ac:spMkLst>
            <pc:docMk/>
            <pc:sldMk cId="3175563102" sldId="515"/>
            <ac:spMk id="3" creationId="{F90DC4B9-2DB4-7654-D3AD-FD89FBD6A38D}"/>
          </ac:spMkLst>
        </pc:spChg>
        <pc:spChg chg="del">
          <ac:chgData name="C.M, Roja" userId="3f7d0bc6-dbf6-4d6f-a169-d6fed478b298" providerId="ADAL" clId="{5E1FAC12-BECD-49B6-BC4D-78CFD03551EC}" dt="2024-10-17T14:38:33.360" v="1071" actId="478"/>
          <ac:spMkLst>
            <pc:docMk/>
            <pc:sldMk cId="3175563102" sldId="515"/>
            <ac:spMk id="4" creationId="{4D3BFFD8-907B-0E16-25AA-AC3066C97AF2}"/>
          </ac:spMkLst>
        </pc:spChg>
        <pc:graphicFrameChg chg="add mod">
          <ac:chgData name="C.M, Roja" userId="3f7d0bc6-dbf6-4d6f-a169-d6fed478b298" providerId="ADAL" clId="{5E1FAC12-BECD-49B6-BC4D-78CFD03551EC}" dt="2024-10-17T14:40:02.458" v="1075"/>
          <ac:graphicFrameMkLst>
            <pc:docMk/>
            <pc:sldMk cId="3175563102" sldId="515"/>
            <ac:graphicFrameMk id="5" creationId="{F7ADCD43-6C29-5D29-8E93-1F7784A33BB5}"/>
          </ac:graphicFrameMkLst>
        </pc:graphicFrameChg>
        <pc:graphicFrameChg chg="add mod">
          <ac:chgData name="C.M, Roja" userId="3f7d0bc6-dbf6-4d6f-a169-d6fed478b298" providerId="ADAL" clId="{5E1FAC12-BECD-49B6-BC4D-78CFD03551EC}" dt="2024-10-17T14:40:04.685" v="1077"/>
          <ac:graphicFrameMkLst>
            <pc:docMk/>
            <pc:sldMk cId="3175563102" sldId="515"/>
            <ac:graphicFrameMk id="6" creationId="{F7ADCD43-6C29-5D29-8E93-1F7784A33BB5}"/>
          </ac:graphicFrameMkLst>
        </pc:graphicFrameChg>
      </pc:sldChg>
      <pc:sldChg chg="new del">
        <pc:chgData name="C.M, Roja" userId="3f7d0bc6-dbf6-4d6f-a169-d6fed478b298" providerId="ADAL" clId="{5E1FAC12-BECD-49B6-BC4D-78CFD03551EC}" dt="2024-10-17T14:40:18.177" v="1079" actId="680"/>
        <pc:sldMkLst>
          <pc:docMk/>
          <pc:sldMk cId="1396064107" sldId="516"/>
        </pc:sldMkLst>
      </pc:sldChg>
    </pc:docChg>
  </pc:docChgLst>
  <pc:docChgLst>
    <pc:chgData name="Roja" userId="3f7d0bc6-dbf6-4d6f-a169-d6fed478b298" providerId="ADAL" clId="{433777DD-36E3-4B34-8224-1BC3743E0991}"/>
    <pc:docChg chg="undo custSel addSld modSld">
      <pc:chgData name="Roja" userId="3f7d0bc6-dbf6-4d6f-a169-d6fed478b298" providerId="ADAL" clId="{433777DD-36E3-4B34-8224-1BC3743E0991}" dt="2024-08-30T14:46:43.442" v="189" actId="20577"/>
      <pc:docMkLst>
        <pc:docMk/>
      </pc:docMkLst>
      <pc:sldChg chg="modSp mod">
        <pc:chgData name="Roja" userId="3f7d0bc6-dbf6-4d6f-a169-d6fed478b298" providerId="ADAL" clId="{433777DD-36E3-4B34-8224-1BC3743E0991}" dt="2024-08-30T14:46:43.442" v="189" actId="20577"/>
        <pc:sldMkLst>
          <pc:docMk/>
          <pc:sldMk cId="2830994021" sldId="469"/>
        </pc:sldMkLst>
        <pc:spChg chg="mod">
          <ac:chgData name="Roja" userId="3f7d0bc6-dbf6-4d6f-a169-d6fed478b298" providerId="ADAL" clId="{433777DD-36E3-4B34-8224-1BC3743E0991}" dt="2024-08-30T14:46:43.442" v="189" actId="20577"/>
          <ac:spMkLst>
            <pc:docMk/>
            <pc:sldMk cId="2830994021" sldId="469"/>
            <ac:spMk id="3" creationId="{119CC90B-095E-3388-638C-50ED07AA1628}"/>
          </ac:spMkLst>
        </pc:spChg>
      </pc:sldChg>
      <pc:sldChg chg="addSp delSp modSp new mod">
        <pc:chgData name="Roja" userId="3f7d0bc6-dbf6-4d6f-a169-d6fed478b298" providerId="ADAL" clId="{433777DD-36E3-4B34-8224-1BC3743E0991}" dt="2024-08-30T13:45:39.882" v="165" actId="20577"/>
        <pc:sldMkLst>
          <pc:docMk/>
          <pc:sldMk cId="1711242263" sldId="485"/>
        </pc:sldMkLst>
        <pc:spChg chg="mod">
          <ac:chgData name="Roja" userId="3f7d0bc6-dbf6-4d6f-a169-d6fed478b298" providerId="ADAL" clId="{433777DD-36E3-4B34-8224-1BC3743E0991}" dt="2024-08-30T13:45:39.882" v="165" actId="20577"/>
          <ac:spMkLst>
            <pc:docMk/>
            <pc:sldMk cId="1711242263" sldId="485"/>
            <ac:spMk id="2" creationId="{545D7F30-7D3E-A237-8014-EF659BBC3A20}"/>
          </ac:spMkLst>
        </pc:spChg>
        <pc:spChg chg="add del">
          <ac:chgData name="Roja" userId="3f7d0bc6-dbf6-4d6f-a169-d6fed478b298" providerId="ADAL" clId="{433777DD-36E3-4B34-8224-1BC3743E0991}" dt="2024-08-30T08:50:45.919" v="68"/>
          <ac:spMkLst>
            <pc:docMk/>
            <pc:sldMk cId="1711242263" sldId="485"/>
            <ac:spMk id="3" creationId="{3BFD3381-5A69-0FA3-7FD4-D167DB1B9782}"/>
          </ac:spMkLst>
        </pc:spChg>
        <pc:spChg chg="del">
          <ac:chgData name="Roja" userId="3f7d0bc6-dbf6-4d6f-a169-d6fed478b298" providerId="ADAL" clId="{433777DD-36E3-4B34-8224-1BC3743E0991}" dt="2024-08-30T08:50:49.937" v="69" actId="478"/>
          <ac:spMkLst>
            <pc:docMk/>
            <pc:sldMk cId="1711242263" sldId="485"/>
            <ac:spMk id="4" creationId="{436E65AC-6C50-CA23-9F97-9B4AB9C48983}"/>
          </ac:spMkLst>
        </pc:spChg>
        <pc:graphicFrameChg chg="add mod modGraphic">
          <ac:chgData name="Roja" userId="3f7d0bc6-dbf6-4d6f-a169-d6fed478b298" providerId="ADAL" clId="{433777DD-36E3-4B34-8224-1BC3743E0991}" dt="2024-08-30T08:50:59.841" v="71" actId="14100"/>
          <ac:graphicFrameMkLst>
            <pc:docMk/>
            <pc:sldMk cId="1711242263" sldId="485"/>
            <ac:graphicFrameMk id="6" creationId="{DA42F36C-B820-64C2-0613-D71DAFCE9F61}"/>
          </ac:graphicFrameMkLst>
        </pc:graphicFrameChg>
        <pc:picChg chg="add del mod ord">
          <ac:chgData name="Roja" userId="3f7d0bc6-dbf6-4d6f-a169-d6fed478b298" providerId="ADAL" clId="{433777DD-36E3-4B34-8224-1BC3743E0991}" dt="2024-08-30T08:50:21.450" v="67" actId="34307"/>
          <ac:picMkLst>
            <pc:docMk/>
            <pc:sldMk cId="1711242263" sldId="485"/>
            <ac:picMk id="5" creationId="{34316557-E164-8550-A3FC-54F0588E72C5}"/>
          </ac:picMkLst>
        </pc:picChg>
      </pc:sldChg>
      <pc:sldChg chg="addSp delSp modSp new mod">
        <pc:chgData name="Roja" userId="3f7d0bc6-dbf6-4d6f-a169-d6fed478b298" providerId="ADAL" clId="{433777DD-36E3-4B34-8224-1BC3743E0991}" dt="2024-08-30T13:45:51.227" v="169" actId="20577"/>
        <pc:sldMkLst>
          <pc:docMk/>
          <pc:sldMk cId="1840358710" sldId="486"/>
        </pc:sldMkLst>
        <pc:spChg chg="mod">
          <ac:chgData name="Roja" userId="3f7d0bc6-dbf6-4d6f-a169-d6fed478b298" providerId="ADAL" clId="{433777DD-36E3-4B34-8224-1BC3743E0991}" dt="2024-08-30T13:45:51.227" v="169" actId="20577"/>
          <ac:spMkLst>
            <pc:docMk/>
            <pc:sldMk cId="1840358710" sldId="486"/>
            <ac:spMk id="2" creationId="{DB69F4F3-D687-0C8E-386A-5C92691C11EF}"/>
          </ac:spMkLst>
        </pc:spChg>
        <pc:spChg chg="del">
          <ac:chgData name="Roja" userId="3f7d0bc6-dbf6-4d6f-a169-d6fed478b298" providerId="ADAL" clId="{433777DD-36E3-4B34-8224-1BC3743E0991}" dt="2024-08-30T09:40:04.792" v="141"/>
          <ac:spMkLst>
            <pc:docMk/>
            <pc:sldMk cId="1840358710" sldId="486"/>
            <ac:spMk id="3" creationId="{0F7FC175-874D-7AEB-3B7B-2B2C920AACA4}"/>
          </ac:spMkLst>
        </pc:spChg>
        <pc:spChg chg="del">
          <ac:chgData name="Roja" userId="3f7d0bc6-dbf6-4d6f-a169-d6fed478b298" providerId="ADAL" clId="{433777DD-36E3-4B34-8224-1BC3743E0991}" dt="2024-08-30T09:40:07.648" v="142" actId="478"/>
          <ac:spMkLst>
            <pc:docMk/>
            <pc:sldMk cId="1840358710" sldId="486"/>
            <ac:spMk id="4" creationId="{A6FEE9F8-2356-237E-97EB-FB9296AB76D1}"/>
          </ac:spMkLst>
        </pc:spChg>
        <pc:graphicFrameChg chg="add mod modGraphic">
          <ac:chgData name="Roja" userId="3f7d0bc6-dbf6-4d6f-a169-d6fed478b298" providerId="ADAL" clId="{433777DD-36E3-4B34-8224-1BC3743E0991}" dt="2024-08-30T09:40:19.364" v="146" actId="14100"/>
          <ac:graphicFrameMkLst>
            <pc:docMk/>
            <pc:sldMk cId="1840358710" sldId="486"/>
            <ac:graphicFrameMk id="5" creationId="{8EB84413-B158-1C35-AACD-FCF46D94F46D}"/>
          </ac:graphicFrameMkLst>
        </pc:graphicFrameChg>
      </pc:sldChg>
    </pc:docChg>
  </pc:docChgLst>
  <pc:docChgLst>
    <pc:chgData name="Fang, Dongping" userId="5a34f7f3-f515-4114-b7f2-8e89650ed4b2" providerId="ADAL" clId="{603B321C-9EA1-1444-8D3A-11EDC065BBFC}"/>
    <pc:docChg chg="custSel modSld">
      <pc:chgData name="Fang, Dongping" userId="5a34f7f3-f515-4114-b7f2-8e89650ed4b2" providerId="ADAL" clId="{603B321C-9EA1-1444-8D3A-11EDC065BBFC}" dt="2024-10-09T15:08:28.125" v="353" actId="20577"/>
      <pc:docMkLst>
        <pc:docMk/>
      </pc:docMkLst>
      <pc:sldChg chg="modSp mod">
        <pc:chgData name="Fang, Dongping" userId="5a34f7f3-f515-4114-b7f2-8e89650ed4b2" providerId="ADAL" clId="{603B321C-9EA1-1444-8D3A-11EDC065BBFC}" dt="2024-10-09T14:50:54.326" v="161" actId="14100"/>
        <pc:sldMkLst>
          <pc:docMk/>
          <pc:sldMk cId="1391421164" sldId="492"/>
        </pc:sldMkLst>
        <pc:spChg chg="mod">
          <ac:chgData name="Fang, Dongping" userId="5a34f7f3-f515-4114-b7f2-8e89650ed4b2" providerId="ADAL" clId="{603B321C-9EA1-1444-8D3A-11EDC065BBFC}" dt="2024-10-09T14:50:54.326" v="161" actId="14100"/>
          <ac:spMkLst>
            <pc:docMk/>
            <pc:sldMk cId="1391421164" sldId="492"/>
            <ac:spMk id="3" creationId="{90900C59-9F1F-5E61-73F7-B65740A46FFA}"/>
          </ac:spMkLst>
        </pc:spChg>
        <pc:graphicFrameChg chg="mod modGraphic">
          <ac:chgData name="Fang, Dongping" userId="5a34f7f3-f515-4114-b7f2-8e89650ed4b2" providerId="ADAL" clId="{603B321C-9EA1-1444-8D3A-11EDC065BBFC}" dt="2024-10-09T14:50:47.431" v="160" actId="14100"/>
          <ac:graphicFrameMkLst>
            <pc:docMk/>
            <pc:sldMk cId="1391421164" sldId="492"/>
            <ac:graphicFrameMk id="8" creationId="{368874D5-189E-F6DB-3E49-A852F31A80FC}"/>
          </ac:graphicFrameMkLst>
        </pc:graphicFrameChg>
      </pc:sldChg>
      <pc:sldChg chg="delSp modSp mod">
        <pc:chgData name="Fang, Dongping" userId="5a34f7f3-f515-4114-b7f2-8e89650ed4b2" providerId="ADAL" clId="{603B321C-9EA1-1444-8D3A-11EDC065BBFC}" dt="2024-10-09T14:58:02.355" v="277" actId="478"/>
        <pc:sldMkLst>
          <pc:docMk/>
          <pc:sldMk cId="3616240891" sldId="505"/>
        </pc:sldMkLst>
        <pc:spChg chg="mod">
          <ac:chgData name="Fang, Dongping" userId="5a34f7f3-f515-4114-b7f2-8e89650ed4b2" providerId="ADAL" clId="{603B321C-9EA1-1444-8D3A-11EDC065BBFC}" dt="2024-10-09T14:56:23.155" v="274" actId="20577"/>
          <ac:spMkLst>
            <pc:docMk/>
            <pc:sldMk cId="3616240891" sldId="505"/>
            <ac:spMk id="2" creationId="{5DED1442-2BF0-0E9B-C614-9220C28A3C92}"/>
          </ac:spMkLst>
        </pc:spChg>
        <pc:graphicFrameChg chg="mod modGraphic">
          <ac:chgData name="Fang, Dongping" userId="5a34f7f3-f515-4114-b7f2-8e89650ed4b2" providerId="ADAL" clId="{603B321C-9EA1-1444-8D3A-11EDC065BBFC}" dt="2024-10-09T14:56:19.243" v="272" actId="20577"/>
          <ac:graphicFrameMkLst>
            <pc:docMk/>
            <pc:sldMk cId="3616240891" sldId="505"/>
            <ac:graphicFrameMk id="5" creationId="{5C6BB42C-189F-2B1B-5160-398F072E3161}"/>
          </ac:graphicFrameMkLst>
        </pc:graphicFrameChg>
        <pc:graphicFrameChg chg="del mod">
          <ac:chgData name="Fang, Dongping" userId="5a34f7f3-f515-4114-b7f2-8e89650ed4b2" providerId="ADAL" clId="{603B321C-9EA1-1444-8D3A-11EDC065BBFC}" dt="2024-10-09T14:58:02.355" v="277" actId="478"/>
          <ac:graphicFrameMkLst>
            <pc:docMk/>
            <pc:sldMk cId="3616240891" sldId="505"/>
            <ac:graphicFrameMk id="6" creationId="{806533C2-9E9A-0751-32B9-FE6FD34423AE}"/>
          </ac:graphicFrameMkLst>
        </pc:graphicFrameChg>
      </pc:sldChg>
      <pc:sldChg chg="modSp mod">
        <pc:chgData name="Fang, Dongping" userId="5a34f7f3-f515-4114-b7f2-8e89650ed4b2" providerId="ADAL" clId="{603B321C-9EA1-1444-8D3A-11EDC065BBFC}" dt="2024-10-09T15:00:19.044" v="348" actId="20577"/>
        <pc:sldMkLst>
          <pc:docMk/>
          <pc:sldMk cId="2208439221" sldId="506"/>
        </pc:sldMkLst>
        <pc:spChg chg="mod">
          <ac:chgData name="Fang, Dongping" userId="5a34f7f3-f515-4114-b7f2-8e89650ed4b2" providerId="ADAL" clId="{603B321C-9EA1-1444-8D3A-11EDC065BBFC}" dt="2024-10-09T15:00:19.044" v="348" actId="20577"/>
          <ac:spMkLst>
            <pc:docMk/>
            <pc:sldMk cId="2208439221" sldId="506"/>
            <ac:spMk id="8" creationId="{94C2835C-85CD-6B79-2D65-7812E47DBE6C}"/>
          </ac:spMkLst>
        </pc:spChg>
        <pc:graphicFrameChg chg="modGraphic">
          <ac:chgData name="Fang, Dongping" userId="5a34f7f3-f515-4114-b7f2-8e89650ed4b2" providerId="ADAL" clId="{603B321C-9EA1-1444-8D3A-11EDC065BBFC}" dt="2024-10-09T14:52:03.240" v="178" actId="20577"/>
          <ac:graphicFrameMkLst>
            <pc:docMk/>
            <pc:sldMk cId="2208439221" sldId="506"/>
            <ac:graphicFrameMk id="10" creationId="{8ED1EF28-3073-CFE9-1825-E59834561A28}"/>
          </ac:graphicFrameMkLst>
        </pc:graphicFrameChg>
      </pc:sldChg>
      <pc:sldChg chg="delSp modSp mod">
        <pc:chgData name="Fang, Dongping" userId="5a34f7f3-f515-4114-b7f2-8e89650ed4b2" providerId="ADAL" clId="{603B321C-9EA1-1444-8D3A-11EDC065BBFC}" dt="2024-10-09T15:08:28.125" v="353" actId="20577"/>
        <pc:sldMkLst>
          <pc:docMk/>
          <pc:sldMk cId="3385106528" sldId="507"/>
        </pc:sldMkLst>
        <pc:spChg chg="mod">
          <ac:chgData name="Fang, Dongping" userId="5a34f7f3-f515-4114-b7f2-8e89650ed4b2" providerId="ADAL" clId="{603B321C-9EA1-1444-8D3A-11EDC065BBFC}" dt="2024-10-09T15:08:28.125" v="353" actId="20577"/>
          <ac:spMkLst>
            <pc:docMk/>
            <pc:sldMk cId="3385106528" sldId="507"/>
            <ac:spMk id="2" creationId="{A94101E0-D49E-4B2E-5CAB-5F6DC738FFCA}"/>
          </ac:spMkLst>
        </pc:spChg>
        <pc:graphicFrameChg chg="mod">
          <ac:chgData name="Fang, Dongping" userId="5a34f7f3-f515-4114-b7f2-8e89650ed4b2" providerId="ADAL" clId="{603B321C-9EA1-1444-8D3A-11EDC065BBFC}" dt="2024-10-09T14:56:46.347" v="275"/>
          <ac:graphicFrameMkLst>
            <pc:docMk/>
            <pc:sldMk cId="3385106528" sldId="507"/>
            <ac:graphicFrameMk id="5" creationId="{BAC5014B-7829-624B-C9EC-38DB81BDC764}"/>
          </ac:graphicFrameMkLst>
        </pc:graphicFrameChg>
        <pc:graphicFrameChg chg="del mod">
          <ac:chgData name="Fang, Dongping" userId="5a34f7f3-f515-4114-b7f2-8e89650ed4b2" providerId="ADAL" clId="{603B321C-9EA1-1444-8D3A-11EDC065BBFC}" dt="2024-10-09T14:58:37.050" v="279" actId="478"/>
          <ac:graphicFrameMkLst>
            <pc:docMk/>
            <pc:sldMk cId="3385106528" sldId="507"/>
            <ac:graphicFrameMk id="6" creationId="{8986E686-812B-8C57-2E82-E8B5E155AF32}"/>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est AUC CompComparis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3!$B$1</c:f>
              <c:strCache>
                <c:ptCount val="1"/>
                <c:pt idx="0">
                  <c:v>Test_AUC_2yr_tgt_2yr_input_data</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8</c:f>
              <c:strCache>
                <c:ptCount val="7"/>
                <c:pt idx="0">
                  <c:v>IHAN_4041</c:v>
                </c:pt>
                <c:pt idx="1">
                  <c:v>IHAN_3041</c:v>
                </c:pt>
                <c:pt idx="2">
                  <c:v>IHAN_201[diag &amp; proc]</c:v>
                </c:pt>
                <c:pt idx="3">
                  <c:v>IHAN_205[doag&amp;proc]</c:v>
                </c:pt>
                <c:pt idx="4">
                  <c:v>IHAN_101 [only diag]</c:v>
                </c:pt>
                <c:pt idx="5">
                  <c:v>IHAN_305[age, last 3,6,9,12mnth_preg_amt]</c:v>
                </c:pt>
                <c:pt idx="6">
                  <c:v>IHAN_303[age, last 9,12mnth_preg_amt]</c:v>
                </c:pt>
              </c:strCache>
            </c:strRef>
          </c:cat>
          <c:val>
            <c:numRef>
              <c:f>Sheet3!$B$2:$B$8</c:f>
              <c:numCache>
                <c:formatCode>General</c:formatCode>
                <c:ptCount val="7"/>
                <c:pt idx="0">
                  <c:v>0.81220000000000003</c:v>
                </c:pt>
                <c:pt idx="1">
                  <c:v>0.82130000000000003</c:v>
                </c:pt>
                <c:pt idx="2">
                  <c:v>0.7994</c:v>
                </c:pt>
                <c:pt idx="3">
                  <c:v>0.80630000000000002</c:v>
                </c:pt>
                <c:pt idx="4">
                  <c:v>0.80710000000000004</c:v>
                </c:pt>
                <c:pt idx="5">
                  <c:v>0.82030000000000003</c:v>
                </c:pt>
                <c:pt idx="6">
                  <c:v>0.82289999999999996</c:v>
                </c:pt>
              </c:numCache>
            </c:numRef>
          </c:val>
          <c:extLst>
            <c:ext xmlns:c16="http://schemas.microsoft.com/office/drawing/2014/chart" uri="{C3380CC4-5D6E-409C-BE32-E72D297353CC}">
              <c16:uniqueId val="{00000000-A1EC-4ADB-B853-AC019DF98A53}"/>
            </c:ext>
          </c:extLst>
        </c:ser>
        <c:ser>
          <c:idx val="1"/>
          <c:order val="1"/>
          <c:tx>
            <c:strRef>
              <c:f>Sheet3!$C$1</c:f>
              <c:strCache>
                <c:ptCount val="1"/>
                <c:pt idx="0">
                  <c:v>Test_AUC_1yr_tgt_2yr_input_data</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8</c:f>
              <c:strCache>
                <c:ptCount val="7"/>
                <c:pt idx="0">
                  <c:v>IHAN_4041</c:v>
                </c:pt>
                <c:pt idx="1">
                  <c:v>IHAN_3041</c:v>
                </c:pt>
                <c:pt idx="2">
                  <c:v>IHAN_201[diag &amp; proc]</c:v>
                </c:pt>
                <c:pt idx="3">
                  <c:v>IHAN_205[doag&amp;proc]</c:v>
                </c:pt>
                <c:pt idx="4">
                  <c:v>IHAN_101 [only diag]</c:v>
                </c:pt>
                <c:pt idx="5">
                  <c:v>IHAN_305[age, last 3,6,9,12mnth_preg_amt]</c:v>
                </c:pt>
                <c:pt idx="6">
                  <c:v>IHAN_303[age, last 9,12mnth_preg_amt]</c:v>
                </c:pt>
              </c:strCache>
            </c:strRef>
          </c:cat>
          <c:val>
            <c:numRef>
              <c:f>Sheet3!$C$2:$C$8</c:f>
              <c:numCache>
                <c:formatCode>General</c:formatCode>
                <c:ptCount val="7"/>
                <c:pt idx="0">
                  <c:v>0.7994</c:v>
                </c:pt>
                <c:pt idx="1">
                  <c:v>0.80330000000000001</c:v>
                </c:pt>
                <c:pt idx="2">
                  <c:v>0.78359999999999996</c:v>
                </c:pt>
                <c:pt idx="3">
                  <c:v>0.77839999999999998</c:v>
                </c:pt>
                <c:pt idx="4">
                  <c:v>0.79420000000000002</c:v>
                </c:pt>
                <c:pt idx="5">
                  <c:v>0.80879999999999996</c:v>
                </c:pt>
                <c:pt idx="6">
                  <c:v>0.80900000000000005</c:v>
                </c:pt>
              </c:numCache>
            </c:numRef>
          </c:val>
          <c:extLst>
            <c:ext xmlns:c16="http://schemas.microsoft.com/office/drawing/2014/chart" uri="{C3380CC4-5D6E-409C-BE32-E72D297353CC}">
              <c16:uniqueId val="{00000001-A1EC-4ADB-B853-AC019DF98A53}"/>
            </c:ext>
          </c:extLst>
        </c:ser>
        <c:ser>
          <c:idx val="2"/>
          <c:order val="2"/>
          <c:tx>
            <c:strRef>
              <c:f>Sheet3!$D$1</c:f>
              <c:strCache>
                <c:ptCount val="1"/>
                <c:pt idx="0">
                  <c:v>Test_AUC_2yr_tgt_1yr_input_data</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8</c:f>
              <c:strCache>
                <c:ptCount val="7"/>
                <c:pt idx="0">
                  <c:v>IHAN_4041</c:v>
                </c:pt>
                <c:pt idx="1">
                  <c:v>IHAN_3041</c:v>
                </c:pt>
                <c:pt idx="2">
                  <c:v>IHAN_201[diag &amp; proc]</c:v>
                </c:pt>
                <c:pt idx="3">
                  <c:v>IHAN_205[doag&amp;proc]</c:v>
                </c:pt>
                <c:pt idx="4">
                  <c:v>IHAN_101 [only diag]</c:v>
                </c:pt>
                <c:pt idx="5">
                  <c:v>IHAN_305[age, last 3,6,9,12mnth_preg_amt]</c:v>
                </c:pt>
                <c:pt idx="6">
                  <c:v>IHAN_303[age, last 9,12mnth_preg_amt]</c:v>
                </c:pt>
              </c:strCache>
            </c:strRef>
          </c:cat>
          <c:val>
            <c:numRef>
              <c:f>Sheet3!$D$2:$D$8</c:f>
              <c:numCache>
                <c:formatCode>General</c:formatCode>
                <c:ptCount val="7"/>
                <c:pt idx="0">
                  <c:v>0.80220000000000002</c:v>
                </c:pt>
                <c:pt idx="1">
                  <c:v>0.82010000000000005</c:v>
                </c:pt>
                <c:pt idx="2">
                  <c:v>0.81299999999999994</c:v>
                </c:pt>
                <c:pt idx="3">
                  <c:v>0.8155</c:v>
                </c:pt>
                <c:pt idx="4">
                  <c:v>0.8105</c:v>
                </c:pt>
                <c:pt idx="5">
                  <c:v>0.81799999999999995</c:v>
                </c:pt>
                <c:pt idx="6">
                  <c:v>0.81769999999999998</c:v>
                </c:pt>
              </c:numCache>
            </c:numRef>
          </c:val>
          <c:extLst>
            <c:ext xmlns:c16="http://schemas.microsoft.com/office/drawing/2014/chart" uri="{C3380CC4-5D6E-409C-BE32-E72D297353CC}">
              <c16:uniqueId val="{00000002-A1EC-4ADB-B853-AC019DF98A53}"/>
            </c:ext>
          </c:extLst>
        </c:ser>
        <c:dLbls>
          <c:dLblPos val="outEnd"/>
          <c:showLegendKey val="0"/>
          <c:showVal val="1"/>
          <c:showCatName val="0"/>
          <c:showSerName val="0"/>
          <c:showPercent val="0"/>
          <c:showBubbleSize val="0"/>
        </c:dLbls>
        <c:gapWidth val="219"/>
        <c:overlap val="-27"/>
        <c:axId val="67363752"/>
        <c:axId val="67362312"/>
      </c:barChart>
      <c:catAx>
        <c:axId val="67363752"/>
        <c:scaling>
          <c:orientation val="minMax"/>
        </c:scaling>
        <c:delete val="0"/>
        <c:axPos val="b"/>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362312"/>
        <c:crosses val="autoZero"/>
        <c:auto val="1"/>
        <c:lblAlgn val="ctr"/>
        <c:lblOffset val="100"/>
        <c:noMultiLvlLbl val="0"/>
      </c:catAx>
      <c:valAx>
        <c:axId val="6736231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3637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Elevance Sans" pitchFamily="2"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Elevance Sans" pitchFamily="2" charset="77"/>
              </a:defRPr>
            </a:lvl1pPr>
          </a:lstStyle>
          <a:p>
            <a:fld id="{40C36D6C-D64D-5C49-BA05-1247137E2D8B}" type="datetimeFigureOut">
              <a:rPr lang="en-US" smtClean="0"/>
              <a:pPr/>
              <a:t>10/1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Elevance Sans" pitchFamily="2"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Elevance Sans" pitchFamily="2" charset="77"/>
              </a:defRPr>
            </a:lvl1pPr>
          </a:lstStyle>
          <a:p>
            <a:fld id="{FF050AAF-C99E-5E47-BF9E-3FBCE85A751F}" type="slidenum">
              <a:rPr lang="en-US" smtClean="0"/>
              <a:pPr/>
              <a:t>‹#›</a:t>
            </a:fld>
            <a:endParaRPr lang="en-US" dirty="0"/>
          </a:p>
        </p:txBody>
      </p:sp>
    </p:spTree>
    <p:extLst>
      <p:ext uri="{BB962C8B-B14F-4D97-AF65-F5344CB8AC3E}">
        <p14:creationId xmlns:p14="http://schemas.microsoft.com/office/powerpoint/2010/main" val="4186845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Elevance Sans" pitchFamily="2" charset="77"/>
        <a:ea typeface="+mn-ea"/>
        <a:cs typeface="+mn-cs"/>
      </a:defRPr>
    </a:lvl1pPr>
    <a:lvl2pPr marL="457200" algn="l" defTabSz="914400" rtl="0" eaLnBrk="1" latinLnBrk="0" hangingPunct="1">
      <a:defRPr sz="1200" b="0" i="0" kern="1200">
        <a:solidFill>
          <a:schemeClr val="tx1"/>
        </a:solidFill>
        <a:latin typeface="Elevance Sans" pitchFamily="2" charset="77"/>
        <a:ea typeface="+mn-ea"/>
        <a:cs typeface="+mn-cs"/>
      </a:defRPr>
    </a:lvl2pPr>
    <a:lvl3pPr marL="914400" algn="l" defTabSz="914400" rtl="0" eaLnBrk="1" latinLnBrk="0" hangingPunct="1">
      <a:defRPr sz="1200" b="0" i="0" kern="1200">
        <a:solidFill>
          <a:schemeClr val="tx1"/>
        </a:solidFill>
        <a:latin typeface="Elevance Sans" pitchFamily="2" charset="77"/>
        <a:ea typeface="+mn-ea"/>
        <a:cs typeface="+mn-cs"/>
      </a:defRPr>
    </a:lvl3pPr>
    <a:lvl4pPr marL="1371600" algn="l" defTabSz="914400" rtl="0" eaLnBrk="1" latinLnBrk="0" hangingPunct="1">
      <a:defRPr sz="1200" b="0" i="0" kern="1200">
        <a:solidFill>
          <a:schemeClr val="tx1"/>
        </a:solidFill>
        <a:latin typeface="Elevance Sans" pitchFamily="2" charset="77"/>
        <a:ea typeface="+mn-ea"/>
        <a:cs typeface="+mn-cs"/>
      </a:defRPr>
    </a:lvl4pPr>
    <a:lvl5pPr marL="1828800" algn="l" defTabSz="914400" rtl="0" eaLnBrk="1" latinLnBrk="0" hangingPunct="1">
      <a:defRPr sz="1200" b="0" i="0" kern="1200">
        <a:solidFill>
          <a:schemeClr val="tx1"/>
        </a:solidFill>
        <a:latin typeface="Elevance Sa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2</a:t>
            </a:fld>
            <a:endParaRPr lang="en-US" dirty="0"/>
          </a:p>
        </p:txBody>
      </p:sp>
    </p:spTree>
    <p:extLst>
      <p:ext uri="{BB962C8B-B14F-4D97-AF65-F5344CB8AC3E}">
        <p14:creationId xmlns:p14="http://schemas.microsoft.com/office/powerpoint/2010/main" val="3222059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3</a:t>
            </a:fld>
            <a:endParaRPr lang="en-US" dirty="0"/>
          </a:p>
        </p:txBody>
      </p:sp>
    </p:spTree>
    <p:extLst>
      <p:ext uri="{BB962C8B-B14F-4D97-AF65-F5344CB8AC3E}">
        <p14:creationId xmlns:p14="http://schemas.microsoft.com/office/powerpoint/2010/main" val="2392682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We have filtered out the codes that have a count of less than 5.</a:t>
            </a:r>
          </a:p>
        </p:txBody>
      </p:sp>
      <p:sp>
        <p:nvSpPr>
          <p:cNvPr id="4" name="Slide Number Placeholder 3"/>
          <p:cNvSpPr>
            <a:spLocks noGrp="1"/>
          </p:cNvSpPr>
          <p:nvPr>
            <p:ph type="sldNum" sz="quarter" idx="5"/>
          </p:nvPr>
        </p:nvSpPr>
        <p:spPr/>
        <p:txBody>
          <a:bodyPr/>
          <a:lstStyle/>
          <a:p>
            <a:fld id="{FF050AAF-C99E-5E47-BF9E-3FBCE85A751F}" type="slidenum">
              <a:rPr lang="en-US" smtClean="0"/>
              <a:pPr/>
              <a:t>7</a:t>
            </a:fld>
            <a:endParaRPr lang="en-US" dirty="0"/>
          </a:p>
        </p:txBody>
      </p:sp>
    </p:spTree>
    <p:extLst>
      <p:ext uri="{BB962C8B-B14F-4D97-AF65-F5344CB8AC3E}">
        <p14:creationId xmlns:p14="http://schemas.microsoft.com/office/powerpoint/2010/main" val="109758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We have filtered out the codes that have a count of less than 5.</a:t>
            </a:r>
          </a:p>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8</a:t>
            </a:fld>
            <a:endParaRPr lang="en-US" dirty="0"/>
          </a:p>
        </p:txBody>
      </p:sp>
    </p:spTree>
    <p:extLst>
      <p:ext uri="{BB962C8B-B14F-4D97-AF65-F5344CB8AC3E}">
        <p14:creationId xmlns:p14="http://schemas.microsoft.com/office/powerpoint/2010/main" val="1622874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12</a:t>
            </a:fld>
            <a:endParaRPr lang="en-US" dirty="0"/>
          </a:p>
        </p:txBody>
      </p:sp>
    </p:spTree>
    <p:extLst>
      <p:ext uri="{BB962C8B-B14F-4D97-AF65-F5344CB8AC3E}">
        <p14:creationId xmlns:p14="http://schemas.microsoft.com/office/powerpoint/2010/main" val="1965169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t>13</a:t>
            </a:fld>
            <a:endParaRPr lang="en-US" dirty="0"/>
          </a:p>
        </p:txBody>
      </p:sp>
    </p:spTree>
    <p:extLst>
      <p:ext uri="{BB962C8B-B14F-4D97-AF65-F5344CB8AC3E}">
        <p14:creationId xmlns:p14="http://schemas.microsoft.com/office/powerpoint/2010/main" val="37615418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5.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6.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6.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9" y="4517136"/>
            <a:ext cx="5638800" cy="228600"/>
          </a:xfrm>
          <a:prstGeom prst="rect">
            <a:avLst/>
          </a:prstGeo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11">
            <a:extLst>
              <a:ext uri="{FF2B5EF4-FFF2-40B4-BE49-F238E27FC236}">
                <a16:creationId xmlns:a16="http://schemas.microsoft.com/office/drawing/2014/main" id="{1FF0BD0F-29F1-5746-9751-EC930E120D34}"/>
              </a:ext>
            </a:extLst>
          </p:cNvPr>
          <p:cNvSpPr>
            <a:spLocks noGrp="1"/>
          </p:cNvSpPr>
          <p:nvPr>
            <p:ph type="body" sz="quarter" idx="11" hasCustomPrompt="1"/>
          </p:nvPr>
        </p:nvSpPr>
        <p:spPr>
          <a:xfrm>
            <a:off x="415089" y="4758997"/>
            <a:ext cx="5638800" cy="224536"/>
          </a:xfrm>
          <a:prstGeom prst="rect">
            <a:avLst/>
          </a:prstGeom>
        </p:spPr>
        <p:txBody>
          <a:bodyPr vert="horz" lIns="0" tIns="0" rIns="0" bIns="0" rtlCol="0">
            <a:noAutofit/>
          </a:bodyPr>
          <a:lstStyle>
            <a:lvl1pPr>
              <a:defRPr lang="en-US" sz="1800" i="0" dirty="0">
                <a:latin typeface="+mn-lt"/>
              </a:defRPr>
            </a:lvl1pPr>
          </a:lstStyle>
          <a:p>
            <a:pPr lvl="0"/>
            <a:r>
              <a:rPr lang="en-US" dirty="0"/>
              <a:t>Click to add date</a:t>
            </a:r>
          </a:p>
        </p:txBody>
      </p:sp>
      <p:sp>
        <p:nvSpPr>
          <p:cNvPr id="10" name="Title 1">
            <a:extLst>
              <a:ext uri="{FF2B5EF4-FFF2-40B4-BE49-F238E27FC236}">
                <a16:creationId xmlns:a16="http://schemas.microsoft.com/office/drawing/2014/main" id="{42A56EB4-D385-CA47-98BE-9B9C64B5BD70}"/>
              </a:ext>
            </a:extLst>
          </p:cNvPr>
          <p:cNvSpPr>
            <a:spLocks noGrp="1"/>
          </p:cNvSpPr>
          <p:nvPr>
            <p:ph type="ctrTitle" hasCustomPrompt="1"/>
          </p:nvPr>
        </p:nvSpPr>
        <p:spPr>
          <a:xfrm>
            <a:off x="415089" y="2587226"/>
            <a:ext cx="8349500" cy="1567689"/>
          </a:xfrm>
        </p:spPr>
        <p:txBody>
          <a:bodyPr vert="horz" anchor="b" anchorCtr="0"/>
          <a:lstStyle>
            <a:lvl1pPr algn="l">
              <a:defRPr sz="5200">
                <a:solidFill>
                  <a:schemeClr val="tx1"/>
                </a:solidFill>
              </a:defRPr>
            </a:lvl1pPr>
          </a:lstStyle>
          <a:p>
            <a:r>
              <a:rPr lang="en-US" dirty="0"/>
              <a:t>Click to add</a:t>
            </a:r>
            <a:br>
              <a:rPr lang="en-US" dirty="0"/>
            </a:br>
            <a:r>
              <a:rPr lang="en-US" dirty="0"/>
              <a:t>presentation title</a:t>
            </a:r>
          </a:p>
        </p:txBody>
      </p:sp>
      <p:pic>
        <p:nvPicPr>
          <p:cNvPr id="15" name="Graphic 14">
            <a:extLst>
              <a:ext uri="{FF2B5EF4-FFF2-40B4-BE49-F238E27FC236}">
                <a16:creationId xmlns:a16="http://schemas.microsoft.com/office/drawing/2014/main" id="{CEEC8927-BEE8-3FC1-A519-8A7893FF155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3421378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199" y="1694048"/>
            <a:ext cx="11274552" cy="4313052"/>
          </a:xfrm>
        </p:spPr>
        <p:txBody>
          <a:bodyPr vert="horz" lIns="0" tIns="0" rIns="0" bIns="0" rtlCol="0">
            <a:noAutofit/>
          </a:bodyPr>
          <a:lstStyle>
            <a:lvl1pPr>
              <a:buClr>
                <a:schemeClr val="bg1"/>
              </a:buClr>
              <a:defRPr lang="en-US" dirty="0">
                <a:solidFill>
                  <a:schemeClr val="bg1"/>
                </a:solidFill>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vl6pPr>
              <a:buClr>
                <a:schemeClr val="bg1"/>
              </a:buClr>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41129BB6-0921-694D-A4A8-DD9B3AD0260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4" name="Text Placeholder 3">
            <a:extLst>
              <a:ext uri="{FF2B5EF4-FFF2-40B4-BE49-F238E27FC236}">
                <a16:creationId xmlns:a16="http://schemas.microsoft.com/office/drawing/2014/main" id="{58FAD17C-722E-2194-C51B-1C834EBB712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38317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hasCustomPrompt="1"/>
          </p:nvPr>
        </p:nvSpPr>
        <p:spPr>
          <a:xfrm>
            <a:off x="457199"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hasCustomPrompt="1"/>
          </p:nvPr>
        </p:nvSpPr>
        <p:spPr>
          <a:xfrm>
            <a:off x="6215063"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1B19BAFD-D309-457C-FA11-8DA8B91BD7C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4751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5AB35AA-8D35-7641-A957-D4B0335C4E6D}"/>
              </a:ext>
            </a:extLst>
          </p:cNvPr>
          <p:cNvSpPr>
            <a:spLocks noGrp="1"/>
          </p:cNvSpPr>
          <p:nvPr>
            <p:ph sz="quarter" idx="11" hasCustomPrompt="1"/>
          </p:nvPr>
        </p:nvSpPr>
        <p:spPr>
          <a:xfrm>
            <a:off x="457200"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Content Placeholder 5">
            <a:extLst>
              <a:ext uri="{FF2B5EF4-FFF2-40B4-BE49-F238E27FC236}">
                <a16:creationId xmlns:a16="http://schemas.microsoft.com/office/drawing/2014/main" id="{EBAB0896-32F4-184C-AB6B-8BD1DC29EDF6}"/>
              </a:ext>
            </a:extLst>
          </p:cNvPr>
          <p:cNvSpPr>
            <a:spLocks noGrp="1"/>
          </p:cNvSpPr>
          <p:nvPr>
            <p:ph sz="quarter" idx="13" hasCustomPrompt="1"/>
          </p:nvPr>
        </p:nvSpPr>
        <p:spPr>
          <a:xfrm>
            <a:off x="4295273"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Content Placeholder 5">
            <a:extLst>
              <a:ext uri="{FF2B5EF4-FFF2-40B4-BE49-F238E27FC236}">
                <a16:creationId xmlns:a16="http://schemas.microsoft.com/office/drawing/2014/main" id="{737AFD7F-3700-A74E-A770-258AE729175D}"/>
              </a:ext>
            </a:extLst>
          </p:cNvPr>
          <p:cNvSpPr>
            <a:spLocks noGrp="1"/>
          </p:cNvSpPr>
          <p:nvPr>
            <p:ph sz="quarter" idx="14" hasCustomPrompt="1"/>
          </p:nvPr>
        </p:nvSpPr>
        <p:spPr>
          <a:xfrm>
            <a:off x="8133346" y="1691640"/>
            <a:ext cx="359840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1F049AB0-2699-E4A5-AE74-ECA75F9891B4}"/>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7304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4" name="Content Placeholder 3">
            <a:extLst>
              <a:ext uri="{FF2B5EF4-FFF2-40B4-BE49-F238E27FC236}">
                <a16:creationId xmlns:a16="http://schemas.microsoft.com/office/drawing/2014/main" id="{AD385E59-9CC5-9871-4EB1-B364647AAFA5}"/>
              </a:ext>
            </a:extLst>
          </p:cNvPr>
          <p:cNvSpPr>
            <a:spLocks noGrp="1"/>
          </p:cNvSpPr>
          <p:nvPr>
            <p:ph sz="quarter" idx="21"/>
          </p:nvPr>
        </p:nvSpPr>
        <p:spPr>
          <a:xfrm>
            <a:off x="475443"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lnSpc>
                <a:spcPct val="10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a:extLst>
              <a:ext uri="{FF2B5EF4-FFF2-40B4-BE49-F238E27FC236}">
                <a16:creationId xmlns:a16="http://schemas.microsoft.com/office/drawing/2014/main" id="{89E427DA-4D2F-C091-BBC3-51007DCBA33D}"/>
              </a:ext>
            </a:extLst>
          </p:cNvPr>
          <p:cNvSpPr>
            <a:spLocks noGrp="1"/>
          </p:cNvSpPr>
          <p:nvPr>
            <p:ph sz="quarter" idx="22"/>
          </p:nvPr>
        </p:nvSpPr>
        <p:spPr>
          <a:xfrm>
            <a:off x="3348289"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
            <a:extLst>
              <a:ext uri="{FF2B5EF4-FFF2-40B4-BE49-F238E27FC236}">
                <a16:creationId xmlns:a16="http://schemas.microsoft.com/office/drawing/2014/main" id="{A93994B7-A0C7-265E-120E-98F5D0653416}"/>
              </a:ext>
            </a:extLst>
          </p:cNvPr>
          <p:cNvSpPr>
            <a:spLocks noGrp="1"/>
          </p:cNvSpPr>
          <p:nvPr>
            <p:ph sz="quarter" idx="23"/>
          </p:nvPr>
        </p:nvSpPr>
        <p:spPr>
          <a:xfrm>
            <a:off x="6221135"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D44DF59-6C6E-B941-C523-A61E7A097C9C}"/>
              </a:ext>
            </a:extLst>
          </p:cNvPr>
          <p:cNvSpPr>
            <a:spLocks noGrp="1"/>
          </p:cNvSpPr>
          <p:nvPr>
            <p:ph sz="quarter" idx="24"/>
          </p:nvPr>
        </p:nvSpPr>
        <p:spPr>
          <a:xfrm>
            <a:off x="9093980"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3AD5E377-423A-C7AA-84A4-10D32795F03C}"/>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16313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8248009B-972F-3AE9-7E12-F09363AE867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35559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F62E-226D-824B-B8DB-2C89D7A653EA}"/>
              </a:ext>
            </a:extLst>
          </p:cNvPr>
          <p:cNvSpPr>
            <a:spLocks noGrp="1"/>
          </p:cNvSpPr>
          <p:nvPr>
            <p:ph type="title" hasCustomPrompt="1"/>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8FE593D0-EE65-A94C-979B-4EB5160A52D5}"/>
              </a:ext>
            </a:extLst>
          </p:cNvPr>
          <p:cNvSpPr>
            <a:spLocks noGrp="1"/>
          </p:cNvSpPr>
          <p:nvPr>
            <p:ph type="body" sz="quarter" idx="12" hasCustomPrompt="1"/>
          </p:nvPr>
        </p:nvSpPr>
        <p:spPr>
          <a:xfrm>
            <a:off x="46355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6" name="Text Placeholder 4">
            <a:extLst>
              <a:ext uri="{FF2B5EF4-FFF2-40B4-BE49-F238E27FC236}">
                <a16:creationId xmlns:a16="http://schemas.microsoft.com/office/drawing/2014/main" id="{A4F42A18-507B-2A47-B6EA-97335445F084}"/>
              </a:ext>
            </a:extLst>
          </p:cNvPr>
          <p:cNvSpPr>
            <a:spLocks noGrp="1"/>
          </p:cNvSpPr>
          <p:nvPr>
            <p:ph type="body" sz="quarter" idx="13" hasCustomPrompt="1"/>
          </p:nvPr>
        </p:nvSpPr>
        <p:spPr>
          <a:xfrm>
            <a:off x="46355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8" name="Picture Placeholder 7">
            <a:extLst>
              <a:ext uri="{FF2B5EF4-FFF2-40B4-BE49-F238E27FC236}">
                <a16:creationId xmlns:a16="http://schemas.microsoft.com/office/drawing/2014/main" id="{7136F8D8-9E9A-7C43-880A-D35701E32683}"/>
              </a:ext>
            </a:extLst>
          </p:cNvPr>
          <p:cNvSpPr>
            <a:spLocks noGrp="1"/>
          </p:cNvSpPr>
          <p:nvPr>
            <p:ph type="pic" sz="quarter" idx="14"/>
          </p:nvPr>
        </p:nvSpPr>
        <p:spPr>
          <a:xfrm>
            <a:off x="84613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9" name="Text Placeholder 4">
            <a:extLst>
              <a:ext uri="{FF2B5EF4-FFF2-40B4-BE49-F238E27FC236}">
                <a16:creationId xmlns:a16="http://schemas.microsoft.com/office/drawing/2014/main" id="{9ADE556B-B119-6F48-A31A-9BF6AEDC91BB}"/>
              </a:ext>
            </a:extLst>
          </p:cNvPr>
          <p:cNvSpPr>
            <a:spLocks noGrp="1"/>
          </p:cNvSpPr>
          <p:nvPr>
            <p:ph type="body" sz="quarter" idx="15" hasCustomPrompt="1"/>
          </p:nvPr>
        </p:nvSpPr>
        <p:spPr>
          <a:xfrm>
            <a:off x="237911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0" name="Text Placeholder 4">
            <a:extLst>
              <a:ext uri="{FF2B5EF4-FFF2-40B4-BE49-F238E27FC236}">
                <a16:creationId xmlns:a16="http://schemas.microsoft.com/office/drawing/2014/main" id="{DBE864A2-9804-E543-A5CE-8D60A0A295DC}"/>
              </a:ext>
            </a:extLst>
          </p:cNvPr>
          <p:cNvSpPr>
            <a:spLocks noGrp="1"/>
          </p:cNvSpPr>
          <p:nvPr>
            <p:ph type="body" sz="quarter" idx="16" hasCustomPrompt="1"/>
          </p:nvPr>
        </p:nvSpPr>
        <p:spPr>
          <a:xfrm>
            <a:off x="237911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1" name="Picture Placeholder 7">
            <a:extLst>
              <a:ext uri="{FF2B5EF4-FFF2-40B4-BE49-F238E27FC236}">
                <a16:creationId xmlns:a16="http://schemas.microsoft.com/office/drawing/2014/main" id="{B419F68C-84F4-CA45-BF35-6C80E7E9133B}"/>
              </a:ext>
            </a:extLst>
          </p:cNvPr>
          <p:cNvSpPr>
            <a:spLocks noGrp="1"/>
          </p:cNvSpPr>
          <p:nvPr>
            <p:ph type="pic" sz="quarter" idx="17"/>
          </p:nvPr>
        </p:nvSpPr>
        <p:spPr>
          <a:xfrm>
            <a:off x="276170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2" name="Text Placeholder 4">
            <a:extLst>
              <a:ext uri="{FF2B5EF4-FFF2-40B4-BE49-F238E27FC236}">
                <a16:creationId xmlns:a16="http://schemas.microsoft.com/office/drawing/2014/main" id="{01CB1C99-74B5-174F-98C0-171233B66025}"/>
              </a:ext>
            </a:extLst>
          </p:cNvPr>
          <p:cNvSpPr>
            <a:spLocks noGrp="1"/>
          </p:cNvSpPr>
          <p:nvPr>
            <p:ph type="body" sz="quarter" idx="18" hasCustomPrompt="1"/>
          </p:nvPr>
        </p:nvSpPr>
        <p:spPr>
          <a:xfrm>
            <a:off x="4308035"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3" name="Text Placeholder 4">
            <a:extLst>
              <a:ext uri="{FF2B5EF4-FFF2-40B4-BE49-F238E27FC236}">
                <a16:creationId xmlns:a16="http://schemas.microsoft.com/office/drawing/2014/main" id="{824E4549-6E6F-7745-AB1B-8EDC747F883F}"/>
              </a:ext>
            </a:extLst>
          </p:cNvPr>
          <p:cNvSpPr>
            <a:spLocks noGrp="1"/>
          </p:cNvSpPr>
          <p:nvPr>
            <p:ph type="body" sz="quarter" idx="19" hasCustomPrompt="1"/>
          </p:nvPr>
        </p:nvSpPr>
        <p:spPr>
          <a:xfrm>
            <a:off x="4308035"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4" name="Picture Placeholder 7">
            <a:extLst>
              <a:ext uri="{FF2B5EF4-FFF2-40B4-BE49-F238E27FC236}">
                <a16:creationId xmlns:a16="http://schemas.microsoft.com/office/drawing/2014/main" id="{29D27A29-F9E8-6346-A5EF-5DA6EA07F1CC}"/>
              </a:ext>
            </a:extLst>
          </p:cNvPr>
          <p:cNvSpPr>
            <a:spLocks noGrp="1"/>
          </p:cNvSpPr>
          <p:nvPr>
            <p:ph type="pic" sz="quarter" idx="20"/>
          </p:nvPr>
        </p:nvSpPr>
        <p:spPr>
          <a:xfrm>
            <a:off x="4690622"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5" name="Text Placeholder 4">
            <a:extLst>
              <a:ext uri="{FF2B5EF4-FFF2-40B4-BE49-F238E27FC236}">
                <a16:creationId xmlns:a16="http://schemas.microsoft.com/office/drawing/2014/main" id="{CEBB509A-6317-3047-B130-69533D44DA2C}"/>
              </a:ext>
            </a:extLst>
          </p:cNvPr>
          <p:cNvSpPr>
            <a:spLocks noGrp="1"/>
          </p:cNvSpPr>
          <p:nvPr>
            <p:ph type="body" sz="quarter" idx="21" hasCustomPrompt="1"/>
          </p:nvPr>
        </p:nvSpPr>
        <p:spPr>
          <a:xfrm>
            <a:off x="621692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6" name="Text Placeholder 4">
            <a:extLst>
              <a:ext uri="{FF2B5EF4-FFF2-40B4-BE49-F238E27FC236}">
                <a16:creationId xmlns:a16="http://schemas.microsoft.com/office/drawing/2014/main" id="{87C8E29D-1DF4-E64B-B1A0-057FB56DD8F8}"/>
              </a:ext>
            </a:extLst>
          </p:cNvPr>
          <p:cNvSpPr>
            <a:spLocks noGrp="1"/>
          </p:cNvSpPr>
          <p:nvPr>
            <p:ph type="body" sz="quarter" idx="22" hasCustomPrompt="1"/>
          </p:nvPr>
        </p:nvSpPr>
        <p:spPr>
          <a:xfrm>
            <a:off x="621692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7" name="Picture Placeholder 7">
            <a:extLst>
              <a:ext uri="{FF2B5EF4-FFF2-40B4-BE49-F238E27FC236}">
                <a16:creationId xmlns:a16="http://schemas.microsoft.com/office/drawing/2014/main" id="{0BD9928C-5B7E-4748-9D80-5DE690EE3BC9}"/>
              </a:ext>
            </a:extLst>
          </p:cNvPr>
          <p:cNvSpPr>
            <a:spLocks noGrp="1"/>
          </p:cNvSpPr>
          <p:nvPr>
            <p:ph type="pic" sz="quarter" idx="23"/>
          </p:nvPr>
        </p:nvSpPr>
        <p:spPr>
          <a:xfrm>
            <a:off x="659951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8" name="Text Placeholder 4">
            <a:extLst>
              <a:ext uri="{FF2B5EF4-FFF2-40B4-BE49-F238E27FC236}">
                <a16:creationId xmlns:a16="http://schemas.microsoft.com/office/drawing/2014/main" id="{FE3CBF30-81DD-0A43-8A15-60197C866CAF}"/>
              </a:ext>
            </a:extLst>
          </p:cNvPr>
          <p:cNvSpPr>
            <a:spLocks noGrp="1"/>
          </p:cNvSpPr>
          <p:nvPr>
            <p:ph type="body" sz="quarter" idx="24" hasCustomPrompt="1"/>
          </p:nvPr>
        </p:nvSpPr>
        <p:spPr>
          <a:xfrm>
            <a:off x="813917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9" name="Text Placeholder 4">
            <a:extLst>
              <a:ext uri="{FF2B5EF4-FFF2-40B4-BE49-F238E27FC236}">
                <a16:creationId xmlns:a16="http://schemas.microsoft.com/office/drawing/2014/main" id="{199B807F-816B-6C48-B219-89F944F4EBAC}"/>
              </a:ext>
            </a:extLst>
          </p:cNvPr>
          <p:cNvSpPr>
            <a:spLocks noGrp="1"/>
          </p:cNvSpPr>
          <p:nvPr>
            <p:ph type="body" sz="quarter" idx="25" hasCustomPrompt="1"/>
          </p:nvPr>
        </p:nvSpPr>
        <p:spPr>
          <a:xfrm>
            <a:off x="813917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0" name="Picture Placeholder 7">
            <a:extLst>
              <a:ext uri="{FF2B5EF4-FFF2-40B4-BE49-F238E27FC236}">
                <a16:creationId xmlns:a16="http://schemas.microsoft.com/office/drawing/2014/main" id="{8A8BF656-1C8C-6649-A301-D3C1DB5EA165}"/>
              </a:ext>
            </a:extLst>
          </p:cNvPr>
          <p:cNvSpPr>
            <a:spLocks noGrp="1"/>
          </p:cNvSpPr>
          <p:nvPr>
            <p:ph type="pic" sz="quarter" idx="26"/>
          </p:nvPr>
        </p:nvSpPr>
        <p:spPr>
          <a:xfrm>
            <a:off x="852175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1" name="Text Placeholder 4">
            <a:extLst>
              <a:ext uri="{FF2B5EF4-FFF2-40B4-BE49-F238E27FC236}">
                <a16:creationId xmlns:a16="http://schemas.microsoft.com/office/drawing/2014/main" id="{8E97B3CF-F3AF-0847-973F-35EB62E0DB15}"/>
              </a:ext>
            </a:extLst>
          </p:cNvPr>
          <p:cNvSpPr>
            <a:spLocks noGrp="1"/>
          </p:cNvSpPr>
          <p:nvPr>
            <p:ph type="body" sz="quarter" idx="27" hasCustomPrompt="1"/>
          </p:nvPr>
        </p:nvSpPr>
        <p:spPr>
          <a:xfrm>
            <a:off x="1005473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2" name="Text Placeholder 4">
            <a:extLst>
              <a:ext uri="{FF2B5EF4-FFF2-40B4-BE49-F238E27FC236}">
                <a16:creationId xmlns:a16="http://schemas.microsoft.com/office/drawing/2014/main" id="{4000D23D-524D-D842-BDC0-1528A56D18D3}"/>
              </a:ext>
            </a:extLst>
          </p:cNvPr>
          <p:cNvSpPr>
            <a:spLocks noGrp="1"/>
          </p:cNvSpPr>
          <p:nvPr>
            <p:ph type="body" sz="quarter" idx="28" hasCustomPrompt="1"/>
          </p:nvPr>
        </p:nvSpPr>
        <p:spPr>
          <a:xfrm>
            <a:off x="1005473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3" name="Picture Placeholder 7">
            <a:extLst>
              <a:ext uri="{FF2B5EF4-FFF2-40B4-BE49-F238E27FC236}">
                <a16:creationId xmlns:a16="http://schemas.microsoft.com/office/drawing/2014/main" id="{8ACF24C7-C577-1740-83D4-188B3F6A4CCB}"/>
              </a:ext>
            </a:extLst>
          </p:cNvPr>
          <p:cNvSpPr>
            <a:spLocks noGrp="1"/>
          </p:cNvSpPr>
          <p:nvPr>
            <p:ph type="pic" sz="quarter" idx="29"/>
          </p:nvPr>
        </p:nvSpPr>
        <p:spPr>
          <a:xfrm>
            <a:off x="1043732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4" name="Text Placeholder 4">
            <a:extLst>
              <a:ext uri="{FF2B5EF4-FFF2-40B4-BE49-F238E27FC236}">
                <a16:creationId xmlns:a16="http://schemas.microsoft.com/office/drawing/2014/main" id="{E97CDEC1-E73D-F846-83AB-C6232AFCC7A0}"/>
              </a:ext>
            </a:extLst>
          </p:cNvPr>
          <p:cNvSpPr>
            <a:spLocks noGrp="1"/>
          </p:cNvSpPr>
          <p:nvPr>
            <p:ph type="body" sz="quarter" idx="30" hasCustomPrompt="1"/>
          </p:nvPr>
        </p:nvSpPr>
        <p:spPr>
          <a:xfrm>
            <a:off x="46355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5" name="Text Placeholder 4">
            <a:extLst>
              <a:ext uri="{FF2B5EF4-FFF2-40B4-BE49-F238E27FC236}">
                <a16:creationId xmlns:a16="http://schemas.microsoft.com/office/drawing/2014/main" id="{3A0FC742-28EF-1F4F-98A3-67EDF60D9541}"/>
              </a:ext>
            </a:extLst>
          </p:cNvPr>
          <p:cNvSpPr>
            <a:spLocks noGrp="1"/>
          </p:cNvSpPr>
          <p:nvPr>
            <p:ph type="body" sz="quarter" idx="31" hasCustomPrompt="1"/>
          </p:nvPr>
        </p:nvSpPr>
        <p:spPr>
          <a:xfrm>
            <a:off x="46355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6" name="Picture Placeholder 7">
            <a:extLst>
              <a:ext uri="{FF2B5EF4-FFF2-40B4-BE49-F238E27FC236}">
                <a16:creationId xmlns:a16="http://schemas.microsoft.com/office/drawing/2014/main" id="{AC2C9A8D-A59D-3545-BBA0-D20E682673F9}"/>
              </a:ext>
            </a:extLst>
          </p:cNvPr>
          <p:cNvSpPr>
            <a:spLocks noGrp="1"/>
          </p:cNvSpPr>
          <p:nvPr>
            <p:ph type="pic" sz="quarter" idx="32"/>
          </p:nvPr>
        </p:nvSpPr>
        <p:spPr>
          <a:xfrm>
            <a:off x="84613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7" name="Text Placeholder 4">
            <a:extLst>
              <a:ext uri="{FF2B5EF4-FFF2-40B4-BE49-F238E27FC236}">
                <a16:creationId xmlns:a16="http://schemas.microsoft.com/office/drawing/2014/main" id="{0A06A56F-E43A-8E47-894E-4A4CED51900B}"/>
              </a:ext>
            </a:extLst>
          </p:cNvPr>
          <p:cNvSpPr>
            <a:spLocks noGrp="1"/>
          </p:cNvSpPr>
          <p:nvPr>
            <p:ph type="body" sz="quarter" idx="33" hasCustomPrompt="1"/>
          </p:nvPr>
        </p:nvSpPr>
        <p:spPr>
          <a:xfrm>
            <a:off x="237911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8" name="Text Placeholder 4">
            <a:extLst>
              <a:ext uri="{FF2B5EF4-FFF2-40B4-BE49-F238E27FC236}">
                <a16:creationId xmlns:a16="http://schemas.microsoft.com/office/drawing/2014/main" id="{3273EA5D-FA5D-204D-B343-A30D7C321D28}"/>
              </a:ext>
            </a:extLst>
          </p:cNvPr>
          <p:cNvSpPr>
            <a:spLocks noGrp="1"/>
          </p:cNvSpPr>
          <p:nvPr>
            <p:ph type="body" sz="quarter" idx="34" hasCustomPrompt="1"/>
          </p:nvPr>
        </p:nvSpPr>
        <p:spPr>
          <a:xfrm>
            <a:off x="237911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9" name="Picture Placeholder 7">
            <a:extLst>
              <a:ext uri="{FF2B5EF4-FFF2-40B4-BE49-F238E27FC236}">
                <a16:creationId xmlns:a16="http://schemas.microsoft.com/office/drawing/2014/main" id="{820AB5A6-040E-7444-A303-397B423E04B0}"/>
              </a:ext>
            </a:extLst>
          </p:cNvPr>
          <p:cNvSpPr>
            <a:spLocks noGrp="1"/>
          </p:cNvSpPr>
          <p:nvPr>
            <p:ph type="pic" sz="quarter" idx="35"/>
          </p:nvPr>
        </p:nvSpPr>
        <p:spPr>
          <a:xfrm>
            <a:off x="276170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0" name="Text Placeholder 4">
            <a:extLst>
              <a:ext uri="{FF2B5EF4-FFF2-40B4-BE49-F238E27FC236}">
                <a16:creationId xmlns:a16="http://schemas.microsoft.com/office/drawing/2014/main" id="{511F3BD3-8995-1046-8A62-EA88A88290BA}"/>
              </a:ext>
            </a:extLst>
          </p:cNvPr>
          <p:cNvSpPr>
            <a:spLocks noGrp="1"/>
          </p:cNvSpPr>
          <p:nvPr>
            <p:ph type="body" sz="quarter" idx="36" hasCustomPrompt="1"/>
          </p:nvPr>
        </p:nvSpPr>
        <p:spPr>
          <a:xfrm>
            <a:off x="4308035"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1" name="Text Placeholder 4">
            <a:extLst>
              <a:ext uri="{FF2B5EF4-FFF2-40B4-BE49-F238E27FC236}">
                <a16:creationId xmlns:a16="http://schemas.microsoft.com/office/drawing/2014/main" id="{D9600E0F-D874-F846-849D-FD682311EC4A}"/>
              </a:ext>
            </a:extLst>
          </p:cNvPr>
          <p:cNvSpPr>
            <a:spLocks noGrp="1"/>
          </p:cNvSpPr>
          <p:nvPr>
            <p:ph type="body" sz="quarter" idx="37" hasCustomPrompt="1"/>
          </p:nvPr>
        </p:nvSpPr>
        <p:spPr>
          <a:xfrm>
            <a:off x="4308035"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2" name="Picture Placeholder 7">
            <a:extLst>
              <a:ext uri="{FF2B5EF4-FFF2-40B4-BE49-F238E27FC236}">
                <a16:creationId xmlns:a16="http://schemas.microsoft.com/office/drawing/2014/main" id="{C76A1F97-0A75-BD4D-BA6D-656B14A955D1}"/>
              </a:ext>
            </a:extLst>
          </p:cNvPr>
          <p:cNvSpPr>
            <a:spLocks noGrp="1"/>
          </p:cNvSpPr>
          <p:nvPr>
            <p:ph type="pic" sz="quarter" idx="38"/>
          </p:nvPr>
        </p:nvSpPr>
        <p:spPr>
          <a:xfrm>
            <a:off x="4690622"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3" name="Text Placeholder 4">
            <a:extLst>
              <a:ext uri="{FF2B5EF4-FFF2-40B4-BE49-F238E27FC236}">
                <a16:creationId xmlns:a16="http://schemas.microsoft.com/office/drawing/2014/main" id="{CD916EA2-8B5B-7749-9833-BD3AAEB0BA64}"/>
              </a:ext>
            </a:extLst>
          </p:cNvPr>
          <p:cNvSpPr>
            <a:spLocks noGrp="1"/>
          </p:cNvSpPr>
          <p:nvPr>
            <p:ph type="body" sz="quarter" idx="39" hasCustomPrompt="1"/>
          </p:nvPr>
        </p:nvSpPr>
        <p:spPr>
          <a:xfrm>
            <a:off x="621692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4" name="Text Placeholder 4">
            <a:extLst>
              <a:ext uri="{FF2B5EF4-FFF2-40B4-BE49-F238E27FC236}">
                <a16:creationId xmlns:a16="http://schemas.microsoft.com/office/drawing/2014/main" id="{2B761728-8BB5-7C4B-A669-4B3DA236D655}"/>
              </a:ext>
            </a:extLst>
          </p:cNvPr>
          <p:cNvSpPr>
            <a:spLocks noGrp="1"/>
          </p:cNvSpPr>
          <p:nvPr>
            <p:ph type="body" sz="quarter" idx="40" hasCustomPrompt="1"/>
          </p:nvPr>
        </p:nvSpPr>
        <p:spPr>
          <a:xfrm>
            <a:off x="621692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5" name="Picture Placeholder 7">
            <a:extLst>
              <a:ext uri="{FF2B5EF4-FFF2-40B4-BE49-F238E27FC236}">
                <a16:creationId xmlns:a16="http://schemas.microsoft.com/office/drawing/2014/main" id="{468D7D8C-1D74-7749-ACAE-DD956F429E07}"/>
              </a:ext>
            </a:extLst>
          </p:cNvPr>
          <p:cNvSpPr>
            <a:spLocks noGrp="1"/>
          </p:cNvSpPr>
          <p:nvPr>
            <p:ph type="pic" sz="quarter" idx="41"/>
          </p:nvPr>
        </p:nvSpPr>
        <p:spPr>
          <a:xfrm>
            <a:off x="659951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6" name="Text Placeholder 4">
            <a:extLst>
              <a:ext uri="{FF2B5EF4-FFF2-40B4-BE49-F238E27FC236}">
                <a16:creationId xmlns:a16="http://schemas.microsoft.com/office/drawing/2014/main" id="{5115002D-A2C1-3D47-8436-81012F937E85}"/>
              </a:ext>
            </a:extLst>
          </p:cNvPr>
          <p:cNvSpPr>
            <a:spLocks noGrp="1"/>
          </p:cNvSpPr>
          <p:nvPr>
            <p:ph type="body" sz="quarter" idx="42" hasCustomPrompt="1"/>
          </p:nvPr>
        </p:nvSpPr>
        <p:spPr>
          <a:xfrm>
            <a:off x="813917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7" name="Text Placeholder 4">
            <a:extLst>
              <a:ext uri="{FF2B5EF4-FFF2-40B4-BE49-F238E27FC236}">
                <a16:creationId xmlns:a16="http://schemas.microsoft.com/office/drawing/2014/main" id="{52CA7F72-BC77-AB40-96F2-E54F449FEBA0}"/>
              </a:ext>
            </a:extLst>
          </p:cNvPr>
          <p:cNvSpPr>
            <a:spLocks noGrp="1"/>
          </p:cNvSpPr>
          <p:nvPr>
            <p:ph type="body" sz="quarter" idx="43" hasCustomPrompt="1"/>
          </p:nvPr>
        </p:nvSpPr>
        <p:spPr>
          <a:xfrm>
            <a:off x="813917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8" name="Picture Placeholder 7">
            <a:extLst>
              <a:ext uri="{FF2B5EF4-FFF2-40B4-BE49-F238E27FC236}">
                <a16:creationId xmlns:a16="http://schemas.microsoft.com/office/drawing/2014/main" id="{C2C35CCF-59F6-C041-BA4A-796054E77C0F}"/>
              </a:ext>
            </a:extLst>
          </p:cNvPr>
          <p:cNvSpPr>
            <a:spLocks noGrp="1"/>
          </p:cNvSpPr>
          <p:nvPr>
            <p:ph type="pic" sz="quarter" idx="44"/>
          </p:nvPr>
        </p:nvSpPr>
        <p:spPr>
          <a:xfrm>
            <a:off x="852175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9" name="Text Placeholder 4">
            <a:extLst>
              <a:ext uri="{FF2B5EF4-FFF2-40B4-BE49-F238E27FC236}">
                <a16:creationId xmlns:a16="http://schemas.microsoft.com/office/drawing/2014/main" id="{EE03E675-6CAE-E140-A3D4-6495DA757EAB}"/>
              </a:ext>
            </a:extLst>
          </p:cNvPr>
          <p:cNvSpPr>
            <a:spLocks noGrp="1"/>
          </p:cNvSpPr>
          <p:nvPr>
            <p:ph type="body" sz="quarter" idx="45" hasCustomPrompt="1"/>
          </p:nvPr>
        </p:nvSpPr>
        <p:spPr>
          <a:xfrm>
            <a:off x="1005473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40" name="Text Placeholder 4">
            <a:extLst>
              <a:ext uri="{FF2B5EF4-FFF2-40B4-BE49-F238E27FC236}">
                <a16:creationId xmlns:a16="http://schemas.microsoft.com/office/drawing/2014/main" id="{8B051DED-7DBA-954E-84D8-696F32F899B8}"/>
              </a:ext>
            </a:extLst>
          </p:cNvPr>
          <p:cNvSpPr>
            <a:spLocks noGrp="1"/>
          </p:cNvSpPr>
          <p:nvPr>
            <p:ph type="body" sz="quarter" idx="46" hasCustomPrompt="1"/>
          </p:nvPr>
        </p:nvSpPr>
        <p:spPr>
          <a:xfrm>
            <a:off x="1005473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41" name="Picture Placeholder 7">
            <a:extLst>
              <a:ext uri="{FF2B5EF4-FFF2-40B4-BE49-F238E27FC236}">
                <a16:creationId xmlns:a16="http://schemas.microsoft.com/office/drawing/2014/main" id="{CFF36F95-2DB5-7F47-A3F3-20BF39ADC5A8}"/>
              </a:ext>
            </a:extLst>
          </p:cNvPr>
          <p:cNvSpPr>
            <a:spLocks noGrp="1"/>
          </p:cNvSpPr>
          <p:nvPr>
            <p:ph type="pic" sz="quarter" idx="47"/>
          </p:nvPr>
        </p:nvSpPr>
        <p:spPr>
          <a:xfrm>
            <a:off x="1043732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A5D78FFD-DE70-214B-53FB-413EABED71C7}"/>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52538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cxnSp>
        <p:nvCxnSpPr>
          <p:cNvPr id="13" name="Straight Connector 12">
            <a:extLst>
              <a:ext uri="{FF2B5EF4-FFF2-40B4-BE49-F238E27FC236}">
                <a16:creationId xmlns:a16="http://schemas.microsoft.com/office/drawing/2014/main" id="{2C6E06F0-2580-5A49-98CA-34E91A0D2C89}"/>
              </a:ext>
            </a:extLst>
          </p:cNvPr>
          <p:cNvCxnSpPr>
            <a:cxnSpLocks/>
          </p:cNvCxnSpPr>
          <p:nvPr userDrawn="1"/>
        </p:nvCxnSpPr>
        <p:spPr>
          <a:xfrm>
            <a:off x="6099533" y="1677410"/>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9996DA-4693-AF44-A11B-9EE0B94D1690}"/>
              </a:ext>
            </a:extLst>
          </p:cNvPr>
          <p:cNvCxnSpPr>
            <a:cxnSpLocks/>
          </p:cNvCxnSpPr>
          <p:nvPr userDrawn="1"/>
        </p:nvCxnSpPr>
        <p:spPr>
          <a:xfrm>
            <a:off x="6099533" y="4014884"/>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F416A43-9211-2E49-BAB8-1BD8D9816424}"/>
              </a:ext>
            </a:extLst>
          </p:cNvPr>
          <p:cNvCxnSpPr/>
          <p:nvPr userDrawn="1"/>
        </p:nvCxnSpPr>
        <p:spPr>
          <a:xfrm flipH="1">
            <a:off x="457200"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85D7B38-0887-2F46-8E24-5542606312A7}"/>
              </a:ext>
            </a:extLst>
          </p:cNvPr>
          <p:cNvCxnSpPr/>
          <p:nvPr userDrawn="1"/>
        </p:nvCxnSpPr>
        <p:spPr>
          <a:xfrm flipH="1">
            <a:off x="6282717"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902497"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621980"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902497"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621980"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431850" y="2307195"/>
            <a:ext cx="3273131" cy="833490"/>
          </a:xfrm>
        </p:spPr>
        <p:txBody>
          <a:bodyPr/>
          <a:lstStyle>
            <a:lvl1pPr>
              <a:spcBef>
                <a:spcPts val="0"/>
              </a:spcBef>
              <a:defRPr sz="1400"/>
            </a:lvl1pPr>
            <a:lvl2pPr marL="12700" indent="0">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170043" y="230719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431850"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170043"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 name="Text Placeholder 3">
            <a:extLst>
              <a:ext uri="{FF2B5EF4-FFF2-40B4-BE49-F238E27FC236}">
                <a16:creationId xmlns:a16="http://schemas.microsoft.com/office/drawing/2014/main" id="{9CF1B548-CDEC-0357-4EBC-B303CD14444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879233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FFF28754-4F75-7990-4BE9-3A42D01E3EA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967934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1"/>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bg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2" name="Text Placeholder 3">
            <a:extLst>
              <a:ext uri="{FF2B5EF4-FFF2-40B4-BE49-F238E27FC236}">
                <a16:creationId xmlns:a16="http://schemas.microsoft.com/office/drawing/2014/main" id="{7664B9BD-E1FB-3841-D842-75CC9E6088A8}"/>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897693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bg>
      <p:bgPr>
        <a:solidFill>
          <a:srgbClr val="5009B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77A41EE8-D2CB-0DB8-13CF-B75EBF63E34A}"/>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59090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inear Supergraphic">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FE20D0F9-50E8-FC44-9957-5927A5C28D74}"/>
              </a:ext>
            </a:extLst>
          </p:cNvPr>
          <p:cNvSpPr/>
          <p:nvPr/>
        </p:nvSpPr>
        <p:spPr>
          <a:xfrm rot="10800000">
            <a:off x="7700406" y="-5517141"/>
            <a:ext cx="8983187" cy="8983187"/>
          </a:xfrm>
          <a:prstGeom prst="arc">
            <a:avLst>
              <a:gd name="adj1" fmla="val 16200000"/>
              <a:gd name="adj2" fmla="val 2083408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983117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8" y="4517136"/>
            <a:ext cx="5638800" cy="228600"/>
          </a:xfr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cxnSp>
        <p:nvCxnSpPr>
          <p:cNvPr id="5" name="Straight Connector 4">
            <a:extLst>
              <a:ext uri="{FF2B5EF4-FFF2-40B4-BE49-F238E27FC236}">
                <a16:creationId xmlns:a16="http://schemas.microsoft.com/office/drawing/2014/main" id="{48F072A8-8335-584F-BE52-8FBA3F06E93A}"/>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336C828C-5FD5-5842-8A7F-FCDE3E492A7E}"/>
              </a:ext>
            </a:extLst>
          </p:cNvPr>
          <p:cNvSpPr/>
          <p:nvPr/>
        </p:nvSpPr>
        <p:spPr>
          <a:xfrm rot="16200000">
            <a:off x="7700406" y="3466048"/>
            <a:ext cx="8983187" cy="8983187"/>
          </a:xfrm>
          <a:prstGeom prst="arc">
            <a:avLst>
              <a:gd name="adj1" fmla="val 17028583"/>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9" name="Text Placeholder 11">
            <a:extLst>
              <a:ext uri="{FF2B5EF4-FFF2-40B4-BE49-F238E27FC236}">
                <a16:creationId xmlns:a16="http://schemas.microsoft.com/office/drawing/2014/main" id="{7DD3FC0C-5E28-CC45-ACF0-E5E428993029}"/>
              </a:ext>
            </a:extLst>
          </p:cNvPr>
          <p:cNvSpPr>
            <a:spLocks noGrp="1"/>
          </p:cNvSpPr>
          <p:nvPr>
            <p:ph type="body" sz="quarter" idx="11" hasCustomPrompt="1"/>
          </p:nvPr>
        </p:nvSpPr>
        <p:spPr>
          <a:xfrm>
            <a:off x="415088" y="4758997"/>
            <a:ext cx="5638800" cy="224536"/>
          </a:xfrm>
        </p:spPr>
        <p:txBody>
          <a:bodyPr/>
          <a:lstStyle>
            <a:lvl1pPr marL="0" indent="0">
              <a:lnSpc>
                <a:spcPct val="100000"/>
              </a:lnSpc>
              <a:buNone/>
              <a:defRPr sz="1800" b="0" i="0">
                <a:latin typeface="+mn-lt"/>
              </a:defRPr>
            </a:lvl1pPr>
          </a:lstStyle>
          <a:p>
            <a:pPr lvl="0"/>
            <a:r>
              <a:rPr lang="en-US" dirty="0"/>
              <a:t>Click to add date</a:t>
            </a:r>
          </a:p>
        </p:txBody>
      </p:sp>
      <p:pic>
        <p:nvPicPr>
          <p:cNvPr id="11" name="Graphic 10">
            <a:extLst>
              <a:ext uri="{FF2B5EF4-FFF2-40B4-BE49-F238E27FC236}">
                <a16:creationId xmlns:a16="http://schemas.microsoft.com/office/drawing/2014/main" id="{8601F0BF-5A2B-B680-F581-8792F532A6A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2641803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Dark Purple">
    <p:bg>
      <p:bgPr>
        <a:solidFill>
          <a:srgbClr val="2B1B49"/>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F7A1AA02-6FCC-5AD9-5743-47F41F4C42D7}"/>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15938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199" y="1691640"/>
            <a:ext cx="2651125"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94A5B7E9-93DD-EBEC-8047-430B925099A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848555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D5DD003-2D12-2F45-9B83-4D1AB24244E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58235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200" y="1691640"/>
            <a:ext cx="2651124"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2651125" cy="822960"/>
          </a:xfrm>
        </p:spPr>
        <p:txBody>
          <a:bodyPr/>
          <a:lstStyle/>
          <a:p>
            <a:r>
              <a:rPr lang="en-US" dirty="0"/>
              <a:t>Click to add title</a:t>
            </a:r>
          </a:p>
        </p:txBody>
      </p:sp>
      <p:sp>
        <p:nvSpPr>
          <p:cNvPr id="7" name="Text Placeholder 3">
            <a:extLst>
              <a:ext uri="{FF2B5EF4-FFF2-40B4-BE49-F238E27FC236}">
                <a16:creationId xmlns:a16="http://schemas.microsoft.com/office/drawing/2014/main" id="{7EAA3626-B192-7954-2795-53FA1BDAEF44}"/>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2" name="Text Placeholder 3">
            <a:extLst>
              <a:ext uri="{FF2B5EF4-FFF2-40B4-BE49-F238E27FC236}">
                <a16:creationId xmlns:a16="http://schemas.microsoft.com/office/drawing/2014/main" id="{F3E3E8D6-8C19-7B6D-01C9-AF1B7B54E9EB}"/>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66546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4" name="Text Placeholder 3">
            <a:extLst>
              <a:ext uri="{FF2B5EF4-FFF2-40B4-BE49-F238E27FC236}">
                <a16:creationId xmlns:a16="http://schemas.microsoft.com/office/drawing/2014/main" id="{39E43737-9BA8-28F9-9B37-28D9385536F1}"/>
              </a:ext>
            </a:extLst>
          </p:cNvPr>
          <p:cNvSpPr>
            <a:spLocks noGrp="1"/>
          </p:cNvSpPr>
          <p:nvPr>
            <p:ph type="body" sz="quarter" idx="15"/>
          </p:nvPr>
        </p:nvSpPr>
        <p:spPr>
          <a:xfrm>
            <a:off x="457200" y="1691640"/>
            <a:ext cx="5334000" cy="4315460"/>
          </a:xfrm>
        </p:spPr>
        <p:txBody>
          <a:bodyPr/>
          <a:lstStyle>
            <a:lvl1pPr>
              <a:lnSpc>
                <a:spcPct val="120000"/>
              </a:lnSpc>
              <a:spcBef>
                <a:spcPts val="1600"/>
              </a:spcBef>
              <a:defRPr sz="1600">
                <a:latin typeface="+mn-lt"/>
              </a:defRPr>
            </a:lvl1pPr>
            <a:lvl2pPr marL="293688" indent="-293688">
              <a:lnSpc>
                <a:spcPct val="120000"/>
              </a:lnSpc>
              <a:spcBef>
                <a:spcPts val="1600"/>
              </a:spcBef>
              <a:buFont typeface="Elevance Sans" pitchFamily="2" charset="0"/>
              <a:buChar char="•"/>
              <a:tabLst/>
              <a:defRPr sz="1600">
                <a:latin typeface="+mn-lt"/>
              </a:defRPr>
            </a:lvl2pPr>
            <a:lvl3pPr marL="9525" indent="0">
              <a:buNone/>
              <a:defRPr/>
            </a:lvl3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50FE2A77-52B0-0002-3E44-F3A5C0195718}"/>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F3D65CF3-2F65-3542-86CF-6454B72998A1}" type="slidenum">
              <a:rPr lang="en-US" smtClean="0"/>
              <a:t>‹#›</a:t>
            </a:fld>
            <a:endParaRPr lang="en-US" dirty="0"/>
          </a:p>
        </p:txBody>
      </p:sp>
      <p:sp>
        <p:nvSpPr>
          <p:cNvPr id="2" name="Text Placeholder 3">
            <a:extLst>
              <a:ext uri="{FF2B5EF4-FFF2-40B4-BE49-F238E27FC236}">
                <a16:creationId xmlns:a16="http://schemas.microsoft.com/office/drawing/2014/main" id="{213A43A4-8673-66F4-30D4-0C9F16EB6E9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742191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Three ic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691640"/>
            <a:ext cx="4249737" cy="316103"/>
          </a:xfrm>
        </p:spPr>
        <p:txBody>
          <a:bodyPr/>
          <a:lstStyle>
            <a:lvl1pPr>
              <a:lnSpc>
                <a:spcPct val="120000"/>
              </a:lnSpc>
              <a:defRPr sz="1600"/>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9B93E84A-0E0A-3D5F-F857-E1E2A1E3BC53}"/>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934940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7A31417D-2358-F67F-3897-9A48812A6321}"/>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9744498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833157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6" name="Text Placeholder 15">
            <a:extLst>
              <a:ext uri="{FF2B5EF4-FFF2-40B4-BE49-F238E27FC236}">
                <a16:creationId xmlns:a16="http://schemas.microsoft.com/office/drawing/2014/main" id="{37CEF25A-BB49-7744-A3F7-57849C61D7A6}"/>
              </a:ext>
            </a:extLst>
          </p:cNvPr>
          <p:cNvSpPr>
            <a:spLocks noGrp="1"/>
          </p:cNvSpPr>
          <p:nvPr>
            <p:ph type="body" sz="quarter" idx="11"/>
          </p:nvPr>
        </p:nvSpPr>
        <p:spPr>
          <a:xfrm>
            <a:off x="457198" y="6181343"/>
            <a:ext cx="365345" cy="365371"/>
          </a:xfrm>
          <a:custGeom>
            <a:avLst/>
            <a:gdLst>
              <a:gd name="connsiteX0" fmla="*/ 248180 w 365345"/>
              <a:gd name="connsiteY0" fmla="*/ 130851 h 365371"/>
              <a:gd name="connsiteX1" fmla="*/ 259521 w 365345"/>
              <a:gd name="connsiteY1" fmla="*/ 136692 h 365371"/>
              <a:gd name="connsiteX2" fmla="*/ 277100 w 365345"/>
              <a:gd name="connsiteY2" fmla="*/ 139811 h 365371"/>
              <a:gd name="connsiteX3" fmla="*/ 259436 w 365345"/>
              <a:gd name="connsiteY3" fmla="*/ 182681 h 365371"/>
              <a:gd name="connsiteX4" fmla="*/ 263576 w 365345"/>
              <a:gd name="connsiteY4" fmla="*/ 190110 h 365371"/>
              <a:gd name="connsiteX5" fmla="*/ 277185 w 365345"/>
              <a:gd name="connsiteY5" fmla="*/ 189061 h 365371"/>
              <a:gd name="connsiteX6" fmla="*/ 291787 w 365345"/>
              <a:gd name="connsiteY6" fmla="*/ 190280 h 365371"/>
              <a:gd name="connsiteX7" fmla="*/ 364117 w 365345"/>
              <a:gd name="connsiteY7" fmla="*/ 291814 h 365371"/>
              <a:gd name="connsiteX8" fmla="*/ 262583 w 365345"/>
              <a:gd name="connsiteY8" fmla="*/ 364143 h 365371"/>
              <a:gd name="connsiteX9" fmla="*/ 190253 w 365345"/>
              <a:gd name="connsiteY9" fmla="*/ 262610 h 365371"/>
              <a:gd name="connsiteX10" fmla="*/ 225525 w 365345"/>
              <a:gd name="connsiteY10" fmla="*/ 277127 h 365371"/>
              <a:gd name="connsiteX11" fmla="*/ 234542 w 365345"/>
              <a:gd name="connsiteY11" fmla="*/ 306359 h 365371"/>
              <a:gd name="connsiteX12" fmla="*/ 306304 w 365345"/>
              <a:gd name="connsiteY12" fmla="*/ 319827 h 365371"/>
              <a:gd name="connsiteX13" fmla="*/ 319772 w 365345"/>
              <a:gd name="connsiteY13" fmla="*/ 248064 h 365371"/>
              <a:gd name="connsiteX14" fmla="*/ 248010 w 365345"/>
              <a:gd name="connsiteY14" fmla="*/ 234596 h 365371"/>
              <a:gd name="connsiteX15" fmla="*/ 226773 w 365345"/>
              <a:gd name="connsiteY15" fmla="*/ 182681 h 365371"/>
              <a:gd name="connsiteX16" fmla="*/ 277156 w 365345"/>
              <a:gd name="connsiteY16" fmla="*/ 0 h 365371"/>
              <a:gd name="connsiteX17" fmla="*/ 277185 w 365345"/>
              <a:gd name="connsiteY17" fmla="*/ 0 h 365371"/>
              <a:gd name="connsiteX18" fmla="*/ 277156 w 365345"/>
              <a:gd name="connsiteY18" fmla="*/ 6 h 365371"/>
              <a:gd name="connsiteX19" fmla="*/ 88095 w 365345"/>
              <a:gd name="connsiteY19" fmla="*/ 0 h 365371"/>
              <a:gd name="connsiteX20" fmla="*/ 103264 w 365345"/>
              <a:gd name="connsiteY20" fmla="*/ 1304 h 365371"/>
              <a:gd name="connsiteX21" fmla="*/ 173997 w 365345"/>
              <a:gd name="connsiteY21" fmla="*/ 67899 h 365371"/>
              <a:gd name="connsiteX22" fmla="*/ 175026 w 365345"/>
              <a:gd name="connsiteY22" fmla="*/ 102757 h 365371"/>
              <a:gd name="connsiteX23" fmla="*/ 182654 w 365345"/>
              <a:gd name="connsiteY23" fmla="*/ 105900 h 365371"/>
              <a:gd name="connsiteX24" fmla="*/ 190083 w 365345"/>
              <a:gd name="connsiteY24" fmla="*/ 101761 h 365371"/>
              <a:gd name="connsiteX25" fmla="*/ 189034 w 365345"/>
              <a:gd name="connsiteY25" fmla="*/ 88151 h 365371"/>
              <a:gd name="connsiteX26" fmla="*/ 242873 w 365345"/>
              <a:gd name="connsiteY26" fmla="*/ 6928 h 365371"/>
              <a:gd name="connsiteX27" fmla="*/ 277156 w 365345"/>
              <a:gd name="connsiteY27" fmla="*/ 6 h 365371"/>
              <a:gd name="connsiteX28" fmla="*/ 277156 w 365345"/>
              <a:gd name="connsiteY28" fmla="*/ 142 h 365371"/>
              <a:gd name="connsiteX29" fmla="*/ 291758 w 365345"/>
              <a:gd name="connsiteY29" fmla="*/ 1361 h 365371"/>
              <a:gd name="connsiteX30" fmla="*/ 364088 w 365345"/>
              <a:gd name="connsiteY30" fmla="*/ 102895 h 365371"/>
              <a:gd name="connsiteX31" fmla="*/ 262554 w 365345"/>
              <a:gd name="connsiteY31" fmla="*/ 175225 h 365371"/>
              <a:gd name="connsiteX32" fmla="*/ 277100 w 365345"/>
              <a:gd name="connsiteY32" fmla="*/ 139953 h 365371"/>
              <a:gd name="connsiteX33" fmla="*/ 306332 w 365345"/>
              <a:gd name="connsiteY33" fmla="*/ 130936 h 365371"/>
              <a:gd name="connsiteX34" fmla="*/ 319800 w 365345"/>
              <a:gd name="connsiteY34" fmla="*/ 59174 h 365371"/>
              <a:gd name="connsiteX35" fmla="*/ 248037 w 365345"/>
              <a:gd name="connsiteY35" fmla="*/ 45706 h 365371"/>
              <a:gd name="connsiteX36" fmla="*/ 234569 w 365345"/>
              <a:gd name="connsiteY36" fmla="*/ 117469 h 365371"/>
              <a:gd name="connsiteX37" fmla="*/ 182654 w 365345"/>
              <a:gd name="connsiteY37" fmla="*/ 138564 h 365371"/>
              <a:gd name="connsiteX38" fmla="*/ 130824 w 365345"/>
              <a:gd name="connsiteY38" fmla="*/ 117213 h 365371"/>
              <a:gd name="connsiteX39" fmla="*/ 139780 w 365345"/>
              <a:gd name="connsiteY39" fmla="*/ 88250 h 365371"/>
              <a:gd name="connsiteX40" fmla="*/ 130767 w 365345"/>
              <a:gd name="connsiteY40" fmla="*/ 59032 h 365371"/>
              <a:gd name="connsiteX41" fmla="*/ 59005 w 365345"/>
              <a:gd name="connsiteY41" fmla="*/ 45564 h 365371"/>
              <a:gd name="connsiteX42" fmla="*/ 45537 w 365345"/>
              <a:gd name="connsiteY42" fmla="*/ 117327 h 365371"/>
              <a:gd name="connsiteX43" fmla="*/ 117299 w 365345"/>
              <a:gd name="connsiteY43" fmla="*/ 130795 h 365371"/>
              <a:gd name="connsiteX44" fmla="*/ 138508 w 365345"/>
              <a:gd name="connsiteY44" fmla="*/ 182682 h 365371"/>
              <a:gd name="connsiteX45" fmla="*/ 117101 w 365345"/>
              <a:gd name="connsiteY45" fmla="*/ 234512 h 365371"/>
              <a:gd name="connsiteX46" fmla="*/ 105760 w 365345"/>
              <a:gd name="connsiteY46" fmla="*/ 228671 h 365371"/>
              <a:gd name="connsiteX47" fmla="*/ 88180 w 365345"/>
              <a:gd name="connsiteY47" fmla="*/ 225552 h 365371"/>
              <a:gd name="connsiteX48" fmla="*/ 88180 w 365345"/>
              <a:gd name="connsiteY48" fmla="*/ 225551 h 365371"/>
              <a:gd name="connsiteX49" fmla="*/ 58948 w 365345"/>
              <a:gd name="connsiteY49" fmla="*/ 234568 h 365371"/>
              <a:gd name="connsiteX50" fmla="*/ 45480 w 365345"/>
              <a:gd name="connsiteY50" fmla="*/ 306330 h 365371"/>
              <a:gd name="connsiteX51" fmla="*/ 117243 w 365345"/>
              <a:gd name="connsiteY51" fmla="*/ 319798 h 365371"/>
              <a:gd name="connsiteX52" fmla="*/ 130711 w 365345"/>
              <a:gd name="connsiteY52" fmla="*/ 248036 h 365371"/>
              <a:gd name="connsiteX53" fmla="*/ 182655 w 365345"/>
              <a:gd name="connsiteY53" fmla="*/ 226799 h 365371"/>
              <a:gd name="connsiteX54" fmla="*/ 234456 w 365345"/>
              <a:gd name="connsiteY54" fmla="*/ 248149 h 365371"/>
              <a:gd name="connsiteX55" fmla="*/ 225525 w 365345"/>
              <a:gd name="connsiteY55" fmla="*/ 277126 h 365371"/>
              <a:gd name="connsiteX56" fmla="*/ 182655 w 365345"/>
              <a:gd name="connsiteY56" fmla="*/ 259462 h 365371"/>
              <a:gd name="connsiteX57" fmla="*/ 175226 w 365345"/>
              <a:gd name="connsiteY57" fmla="*/ 263602 h 365371"/>
              <a:gd name="connsiteX58" fmla="*/ 175056 w 365345"/>
              <a:gd name="connsiteY58" fmla="*/ 291700 h 365371"/>
              <a:gd name="connsiteX59" fmla="*/ 73635 w 365345"/>
              <a:gd name="connsiteY59" fmla="*/ 364030 h 365371"/>
              <a:gd name="connsiteX60" fmla="*/ 1306 w 365345"/>
              <a:gd name="connsiteY60" fmla="*/ 262609 h 365371"/>
              <a:gd name="connsiteX61" fmla="*/ 67768 w 365345"/>
              <a:gd name="connsiteY61" fmla="*/ 191450 h 365371"/>
              <a:gd name="connsiteX62" fmla="*/ 102704 w 365345"/>
              <a:gd name="connsiteY62" fmla="*/ 190281 h 365371"/>
              <a:gd name="connsiteX63" fmla="*/ 105845 w 365345"/>
              <a:gd name="connsiteY63" fmla="*/ 182653 h 365371"/>
              <a:gd name="connsiteX64" fmla="*/ 101705 w 365345"/>
              <a:gd name="connsiteY64" fmla="*/ 175253 h 365371"/>
              <a:gd name="connsiteX65" fmla="*/ 88095 w 365345"/>
              <a:gd name="connsiteY65" fmla="*/ 176302 h 365371"/>
              <a:gd name="connsiteX66" fmla="*/ 1 w 365345"/>
              <a:gd name="connsiteY66" fmla="*/ 88208 h 365371"/>
              <a:gd name="connsiteX67" fmla="*/ 88095 w 365345"/>
              <a:gd name="connsiteY67" fmla="*/ 0 h 36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65345" h="365371">
                <a:moveTo>
                  <a:pt x="248180" y="130851"/>
                </a:moveTo>
                <a:cubicBezTo>
                  <a:pt x="251695" y="133261"/>
                  <a:pt x="255523" y="135217"/>
                  <a:pt x="259521" y="136692"/>
                </a:cubicBezTo>
                <a:cubicBezTo>
                  <a:pt x="265163" y="138733"/>
                  <a:pt x="271118" y="139811"/>
                  <a:pt x="277100" y="139811"/>
                </a:cubicBezTo>
                <a:lnTo>
                  <a:pt x="259436" y="182681"/>
                </a:lnTo>
                <a:lnTo>
                  <a:pt x="263576" y="190110"/>
                </a:lnTo>
                <a:cubicBezTo>
                  <a:pt x="268084" y="189401"/>
                  <a:pt x="272620" y="189061"/>
                  <a:pt x="277185" y="189061"/>
                </a:cubicBezTo>
                <a:cubicBezTo>
                  <a:pt x="282090" y="189061"/>
                  <a:pt x="286967" y="189458"/>
                  <a:pt x="291787" y="190280"/>
                </a:cubicBezTo>
                <a:cubicBezTo>
                  <a:pt x="339790" y="198332"/>
                  <a:pt x="372169" y="243811"/>
                  <a:pt x="364117" y="291814"/>
                </a:cubicBezTo>
                <a:cubicBezTo>
                  <a:pt x="356065" y="339816"/>
                  <a:pt x="310586" y="372196"/>
                  <a:pt x="262583" y="364143"/>
                </a:cubicBezTo>
                <a:cubicBezTo>
                  <a:pt x="214581" y="356091"/>
                  <a:pt x="182201" y="310612"/>
                  <a:pt x="190253" y="262610"/>
                </a:cubicBezTo>
                <a:lnTo>
                  <a:pt x="225525" y="277127"/>
                </a:lnTo>
                <a:cubicBezTo>
                  <a:pt x="225497" y="287561"/>
                  <a:pt x="228644" y="297740"/>
                  <a:pt x="234542" y="306359"/>
                </a:cubicBezTo>
                <a:cubicBezTo>
                  <a:pt x="250646" y="329892"/>
                  <a:pt x="282771" y="335932"/>
                  <a:pt x="306304" y="319827"/>
                </a:cubicBezTo>
                <a:cubicBezTo>
                  <a:pt x="329838" y="303722"/>
                  <a:pt x="335877" y="271598"/>
                  <a:pt x="319772" y="248064"/>
                </a:cubicBezTo>
                <a:cubicBezTo>
                  <a:pt x="303667" y="224531"/>
                  <a:pt x="271543" y="218492"/>
                  <a:pt x="248010" y="234596"/>
                </a:cubicBezTo>
                <a:lnTo>
                  <a:pt x="226773" y="182681"/>
                </a:lnTo>
                <a:close/>
                <a:moveTo>
                  <a:pt x="277156" y="0"/>
                </a:moveTo>
                <a:lnTo>
                  <a:pt x="277185" y="0"/>
                </a:lnTo>
                <a:lnTo>
                  <a:pt x="277156" y="6"/>
                </a:lnTo>
                <a:close/>
                <a:moveTo>
                  <a:pt x="88095" y="0"/>
                </a:moveTo>
                <a:cubicBezTo>
                  <a:pt x="93199" y="0"/>
                  <a:pt x="98246" y="425"/>
                  <a:pt x="103264" y="1304"/>
                </a:cubicBezTo>
                <a:cubicBezTo>
                  <a:pt x="139139" y="7450"/>
                  <a:pt x="166177" y="34552"/>
                  <a:pt x="173997" y="67899"/>
                </a:cubicBezTo>
                <a:lnTo>
                  <a:pt x="175026" y="102757"/>
                </a:lnTo>
                <a:lnTo>
                  <a:pt x="182654" y="105900"/>
                </a:lnTo>
                <a:lnTo>
                  <a:pt x="190083" y="101761"/>
                </a:lnTo>
                <a:cubicBezTo>
                  <a:pt x="189374" y="97252"/>
                  <a:pt x="189034" y="92716"/>
                  <a:pt x="189034" y="88151"/>
                </a:cubicBezTo>
                <a:cubicBezTo>
                  <a:pt x="189034" y="51639"/>
                  <a:pt x="211235" y="20310"/>
                  <a:pt x="242873" y="6928"/>
                </a:cubicBezTo>
                <a:lnTo>
                  <a:pt x="277156" y="6"/>
                </a:lnTo>
                <a:lnTo>
                  <a:pt x="277156" y="142"/>
                </a:lnTo>
                <a:cubicBezTo>
                  <a:pt x="282062" y="142"/>
                  <a:pt x="286938" y="539"/>
                  <a:pt x="291758" y="1361"/>
                </a:cubicBezTo>
                <a:cubicBezTo>
                  <a:pt x="339789" y="9413"/>
                  <a:pt x="372169" y="54892"/>
                  <a:pt x="364088" y="102895"/>
                </a:cubicBezTo>
                <a:cubicBezTo>
                  <a:pt x="356036" y="150926"/>
                  <a:pt x="310557" y="183305"/>
                  <a:pt x="262554" y="175225"/>
                </a:cubicBezTo>
                <a:lnTo>
                  <a:pt x="277100" y="139953"/>
                </a:lnTo>
                <a:cubicBezTo>
                  <a:pt x="287534" y="139981"/>
                  <a:pt x="297713" y="136834"/>
                  <a:pt x="306332" y="130936"/>
                </a:cubicBezTo>
                <a:cubicBezTo>
                  <a:pt x="329865" y="114832"/>
                  <a:pt x="335905" y="82707"/>
                  <a:pt x="319800" y="59174"/>
                </a:cubicBezTo>
                <a:cubicBezTo>
                  <a:pt x="303695" y="35640"/>
                  <a:pt x="271571" y="29601"/>
                  <a:pt x="248037" y="45706"/>
                </a:cubicBezTo>
                <a:cubicBezTo>
                  <a:pt x="224504" y="61811"/>
                  <a:pt x="218465" y="93935"/>
                  <a:pt x="234569" y="117469"/>
                </a:cubicBezTo>
                <a:lnTo>
                  <a:pt x="182654" y="138564"/>
                </a:lnTo>
                <a:lnTo>
                  <a:pt x="130824" y="117213"/>
                </a:lnTo>
                <a:lnTo>
                  <a:pt x="139780" y="88250"/>
                </a:lnTo>
                <a:lnTo>
                  <a:pt x="130767" y="59032"/>
                </a:lnTo>
                <a:cubicBezTo>
                  <a:pt x="114663" y="35499"/>
                  <a:pt x="82538" y="29459"/>
                  <a:pt x="59005" y="45564"/>
                </a:cubicBezTo>
                <a:cubicBezTo>
                  <a:pt x="35471" y="61669"/>
                  <a:pt x="29432" y="93793"/>
                  <a:pt x="45537" y="117327"/>
                </a:cubicBezTo>
                <a:cubicBezTo>
                  <a:pt x="61642" y="140860"/>
                  <a:pt x="93766" y="146899"/>
                  <a:pt x="117299" y="130795"/>
                </a:cubicBezTo>
                <a:lnTo>
                  <a:pt x="138508" y="182682"/>
                </a:lnTo>
                <a:lnTo>
                  <a:pt x="117101" y="234512"/>
                </a:lnTo>
                <a:cubicBezTo>
                  <a:pt x="113585" y="232102"/>
                  <a:pt x="109786" y="230117"/>
                  <a:pt x="105760" y="228671"/>
                </a:cubicBezTo>
                <a:cubicBezTo>
                  <a:pt x="100117" y="226629"/>
                  <a:pt x="94163" y="225552"/>
                  <a:pt x="88180" y="225552"/>
                </a:cubicBezTo>
                <a:lnTo>
                  <a:pt x="88180" y="225551"/>
                </a:lnTo>
                <a:lnTo>
                  <a:pt x="58948" y="234568"/>
                </a:lnTo>
                <a:cubicBezTo>
                  <a:pt x="35415" y="250673"/>
                  <a:pt x="29376" y="282797"/>
                  <a:pt x="45480" y="306330"/>
                </a:cubicBezTo>
                <a:cubicBezTo>
                  <a:pt x="61585" y="329864"/>
                  <a:pt x="93710" y="335903"/>
                  <a:pt x="117243" y="319798"/>
                </a:cubicBezTo>
                <a:cubicBezTo>
                  <a:pt x="140776" y="303694"/>
                  <a:pt x="146816" y="271569"/>
                  <a:pt x="130711" y="248036"/>
                </a:cubicBezTo>
                <a:lnTo>
                  <a:pt x="182655" y="226799"/>
                </a:lnTo>
                <a:lnTo>
                  <a:pt x="234456" y="248149"/>
                </a:lnTo>
                <a:cubicBezTo>
                  <a:pt x="228672" y="256712"/>
                  <a:pt x="225553" y="266806"/>
                  <a:pt x="225525" y="277126"/>
                </a:cubicBezTo>
                <a:lnTo>
                  <a:pt x="182655" y="259462"/>
                </a:lnTo>
                <a:lnTo>
                  <a:pt x="175226" y="263602"/>
                </a:lnTo>
                <a:cubicBezTo>
                  <a:pt x="176672" y="272902"/>
                  <a:pt x="176615" y="282400"/>
                  <a:pt x="175056" y="291700"/>
                </a:cubicBezTo>
                <a:cubicBezTo>
                  <a:pt x="167032" y="339674"/>
                  <a:pt x="121609" y="372054"/>
                  <a:pt x="73635" y="364030"/>
                </a:cubicBezTo>
                <a:cubicBezTo>
                  <a:pt x="25661" y="356006"/>
                  <a:pt x="-6718" y="310583"/>
                  <a:pt x="1306" y="262609"/>
                </a:cubicBezTo>
                <a:cubicBezTo>
                  <a:pt x="7324" y="226629"/>
                  <a:pt x="34378" y="199420"/>
                  <a:pt x="67768" y="191450"/>
                </a:cubicBezTo>
                <a:lnTo>
                  <a:pt x="102704" y="190281"/>
                </a:lnTo>
                <a:lnTo>
                  <a:pt x="105845" y="182653"/>
                </a:lnTo>
                <a:lnTo>
                  <a:pt x="101705" y="175253"/>
                </a:lnTo>
                <a:cubicBezTo>
                  <a:pt x="97197" y="175962"/>
                  <a:pt x="92660" y="176302"/>
                  <a:pt x="88095" y="176302"/>
                </a:cubicBezTo>
                <a:cubicBezTo>
                  <a:pt x="39469" y="176274"/>
                  <a:pt x="29" y="136862"/>
                  <a:pt x="1" y="88208"/>
                </a:cubicBezTo>
                <a:cubicBezTo>
                  <a:pt x="-27" y="39525"/>
                  <a:pt x="39412" y="28"/>
                  <a:pt x="88095" y="0"/>
                </a:cubicBezTo>
                <a:close/>
              </a:path>
            </a:pathLst>
          </a:custGeom>
          <a:solidFill>
            <a:schemeClr val="bg1"/>
          </a:solidFill>
        </p:spPr>
        <p:txBody>
          <a:bodyPr wrap="square">
            <a:noAutofit/>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11" name="Text Placeholder 3">
            <a:extLst>
              <a:ext uri="{FF2B5EF4-FFF2-40B4-BE49-F238E27FC236}">
                <a16:creationId xmlns:a16="http://schemas.microsoft.com/office/drawing/2014/main" id="{010248EB-08DC-67F8-0BAA-D525554D2B7A}"/>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3" name="Text Placeholder 3">
            <a:extLst>
              <a:ext uri="{FF2B5EF4-FFF2-40B4-BE49-F238E27FC236}">
                <a16:creationId xmlns:a16="http://schemas.microsoft.com/office/drawing/2014/main" id="{411F9832-5258-C40A-D37B-70EE199D92AB}"/>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6411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ale Navy">
    <p:bg>
      <p:bgPr>
        <a:solidFill>
          <a:srgbClr val="E1ED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0771293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rgbClr val="5009B5"/>
                </a:solidFill>
              </a:defRPr>
            </a:lvl1pPr>
          </a:lstStyle>
          <a:p>
            <a:r>
              <a:rPr lang="en-US" dirty="0"/>
              <a:t>Hero statement </a:t>
            </a:r>
            <a:br>
              <a:rPr lang="en-US" dirty="0"/>
            </a:br>
            <a:r>
              <a:rPr lang="en-US" dirty="0"/>
              <a:t>or divider title here</a:t>
            </a:r>
          </a:p>
        </p:txBody>
      </p:sp>
      <p:sp>
        <p:nvSpPr>
          <p:cNvPr id="18" name="TextBox 17">
            <a:extLst>
              <a:ext uri="{FF2B5EF4-FFF2-40B4-BE49-F238E27FC236}">
                <a16:creationId xmlns:a16="http://schemas.microsoft.com/office/drawing/2014/main" id="{5171EC9A-3FCB-D640-AF36-C3E697D172B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7" name="Graphic 6">
            <a:extLst>
              <a:ext uri="{FF2B5EF4-FFF2-40B4-BE49-F238E27FC236}">
                <a16:creationId xmlns:a16="http://schemas.microsoft.com/office/drawing/2014/main" id="{AB06DF94-869D-D84E-B441-85669CD6729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DFB7817E-76A9-CFF1-2043-4C71B3BFEE56}"/>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232014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76584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FA8BA841-B76E-A57C-D6B0-05A10F8B5810}"/>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04644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Title 1">
            <a:extLst>
              <a:ext uri="{FF2B5EF4-FFF2-40B4-BE49-F238E27FC236}">
                <a16:creationId xmlns:a16="http://schemas.microsoft.com/office/drawing/2014/main" id="{1390B095-2D96-6E43-929A-E80EF478568E}"/>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12" name="Subtitle 2">
            <a:extLst>
              <a:ext uri="{FF2B5EF4-FFF2-40B4-BE49-F238E27FC236}">
                <a16:creationId xmlns:a16="http://schemas.microsoft.com/office/drawing/2014/main" id="{BBE8C3BB-E299-1045-A7F2-6999E3919628}"/>
              </a:ext>
            </a:extLst>
          </p:cNvPr>
          <p:cNvSpPr>
            <a:spLocks noGrp="1"/>
          </p:cNvSpPr>
          <p:nvPr>
            <p:ph type="subTitle" idx="1" hasCustomPrompt="1"/>
          </p:nvPr>
        </p:nvSpPr>
        <p:spPr>
          <a:xfrm>
            <a:off x="415088"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3" name="Text Placeholder 11">
            <a:extLst>
              <a:ext uri="{FF2B5EF4-FFF2-40B4-BE49-F238E27FC236}">
                <a16:creationId xmlns:a16="http://schemas.microsoft.com/office/drawing/2014/main" id="{50FC71C6-D550-E544-AF63-6785F09DCCB1}"/>
              </a:ext>
            </a:extLst>
          </p:cNvPr>
          <p:cNvSpPr>
            <a:spLocks noGrp="1"/>
          </p:cNvSpPr>
          <p:nvPr>
            <p:ph type="body" sz="quarter" idx="11" hasCustomPrompt="1"/>
          </p:nvPr>
        </p:nvSpPr>
        <p:spPr>
          <a:xfrm>
            <a:off x="415088" y="4758997"/>
            <a:ext cx="5638800" cy="224536"/>
          </a:xfrm>
        </p:spPr>
        <p:txBody>
          <a:bodyPr vert="horz" lIns="0" tIns="0" rIns="0" bIns="0" rtlCol="0">
            <a:noAutofit/>
          </a:bodyPr>
          <a:lstStyle>
            <a:lvl1pPr>
              <a:defRPr lang="en-US" sz="1800" i="0" dirty="0">
                <a:solidFill>
                  <a:schemeClr val="bg1"/>
                </a:solidFill>
                <a:latin typeface="+mn-lt"/>
              </a:defRPr>
            </a:lvl1pPr>
          </a:lstStyle>
          <a:p>
            <a:pPr lvl="0"/>
            <a:r>
              <a:rPr lang="en-US" dirty="0"/>
              <a:t>Click to add date</a:t>
            </a:r>
          </a:p>
        </p:txBody>
      </p:sp>
      <p:pic>
        <p:nvPicPr>
          <p:cNvPr id="14" name="Graphic 13">
            <a:extLst>
              <a:ext uri="{FF2B5EF4-FFF2-40B4-BE49-F238E27FC236}">
                <a16:creationId xmlns:a16="http://schemas.microsoft.com/office/drawing/2014/main" id="{B1842525-1E1E-1269-F797-58F7F571EA0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86969" y="578424"/>
            <a:ext cx="1785575" cy="384339"/>
          </a:xfrm>
          <a:prstGeom prst="rect">
            <a:avLst/>
          </a:prstGeom>
        </p:spPr>
      </p:pic>
    </p:spTree>
    <p:extLst>
      <p:ext uri="{BB962C8B-B14F-4D97-AF65-F5344CB8AC3E}">
        <p14:creationId xmlns:p14="http://schemas.microsoft.com/office/powerpoint/2010/main" val="3962716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671493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Arc 8">
            <a:extLst>
              <a:ext uri="{FF2B5EF4-FFF2-40B4-BE49-F238E27FC236}">
                <a16:creationId xmlns:a16="http://schemas.microsoft.com/office/drawing/2014/main" id="{3CC3D56B-1DDC-7B46-ACFF-189DADCC9727}"/>
              </a:ext>
            </a:extLst>
          </p:cNvPr>
          <p:cNvSpPr/>
          <p:nvPr/>
        </p:nvSpPr>
        <p:spPr>
          <a:xfrm rot="10800000">
            <a:off x="6817543" y="-7579128"/>
            <a:ext cx="11020827" cy="11020826"/>
          </a:xfrm>
          <a:prstGeom prst="arc">
            <a:avLst>
              <a:gd name="adj1" fmla="val 16200000"/>
              <a:gd name="adj2" fmla="val 20324932"/>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0" name="Arc 9">
            <a:extLst>
              <a:ext uri="{FF2B5EF4-FFF2-40B4-BE49-F238E27FC236}">
                <a16:creationId xmlns:a16="http://schemas.microsoft.com/office/drawing/2014/main" id="{E964816C-5828-F543-8E86-D7C70C76ED78}"/>
              </a:ext>
            </a:extLst>
          </p:cNvPr>
          <p:cNvSpPr/>
          <p:nvPr/>
        </p:nvSpPr>
        <p:spPr>
          <a:xfrm rot="16200000">
            <a:off x="6817543" y="3441700"/>
            <a:ext cx="11020826" cy="11020827"/>
          </a:xfrm>
          <a:prstGeom prst="arc">
            <a:avLst>
              <a:gd name="adj1" fmla="val 17502107"/>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Arc 10">
            <a:extLst>
              <a:ext uri="{FF2B5EF4-FFF2-40B4-BE49-F238E27FC236}">
                <a16:creationId xmlns:a16="http://schemas.microsoft.com/office/drawing/2014/main" id="{332B99F5-3B29-CC40-B944-F50BA0B0F19A}"/>
              </a:ext>
            </a:extLst>
          </p:cNvPr>
          <p:cNvSpPr/>
          <p:nvPr/>
        </p:nvSpPr>
        <p:spPr>
          <a:xfrm rot="10800000" flipH="1">
            <a:off x="-5556492" y="-7579128"/>
            <a:ext cx="11020827" cy="11020826"/>
          </a:xfrm>
          <a:prstGeom prst="arc">
            <a:avLst>
              <a:gd name="adj1" fmla="val 16200000"/>
              <a:gd name="adj2" fmla="val 20316416"/>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2" name="Arc 11">
            <a:extLst>
              <a:ext uri="{FF2B5EF4-FFF2-40B4-BE49-F238E27FC236}">
                <a16:creationId xmlns:a16="http://schemas.microsoft.com/office/drawing/2014/main" id="{2B2063DF-792C-F94D-98E4-7344283EDFAE}"/>
              </a:ext>
            </a:extLst>
          </p:cNvPr>
          <p:cNvSpPr/>
          <p:nvPr/>
        </p:nvSpPr>
        <p:spPr>
          <a:xfrm rot="5400000" flipH="1">
            <a:off x="-5556492" y="3441700"/>
            <a:ext cx="11020826" cy="11020827"/>
          </a:xfrm>
          <a:prstGeom prst="arc">
            <a:avLst>
              <a:gd name="adj1" fmla="val 17492116"/>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51B6F5D8-132D-7887-249D-D1B8391FDD3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133566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rgbClr val="5009B5"/>
                </a:solidFill>
                <a:latin typeface="+mj-lt"/>
              </a:defRPr>
            </a:lvl1pPr>
          </a:lstStyle>
          <a:p>
            <a:pPr lvl="0"/>
            <a:r>
              <a:rPr lang="en-US" dirty="0"/>
              <a:t>Click to edit master text styles</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241C57BE-78BC-306C-C5DB-8CB88662CF1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48317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Dark Purple">
    <p:bg>
      <p:bgPr>
        <a:solidFill>
          <a:srgbClr val="2B1B4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rgbClr val="794CFF"/>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80B1E988-E9EB-CD4B-BB13-EB7636E3D89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B2D39F53-3421-76AC-6885-5E453B44B888}"/>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221318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bg1"/>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574A1C6A-75E1-E73D-1785-3B41823664B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1122258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229729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9" name="Content Placeholder 2">
            <a:extLst>
              <a:ext uri="{FF2B5EF4-FFF2-40B4-BE49-F238E27FC236}">
                <a16:creationId xmlns:a16="http://schemas.microsoft.com/office/drawing/2014/main" id="{4D13FCD8-11F4-9046-9E35-10C205A4D8EF}"/>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ext Placeholder 3">
            <a:extLst>
              <a:ext uri="{FF2B5EF4-FFF2-40B4-BE49-F238E27FC236}">
                <a16:creationId xmlns:a16="http://schemas.microsoft.com/office/drawing/2014/main" id="{63B2BA8C-F768-1942-9D55-C9C13A2CF2D0}"/>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05484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6353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hasCustomPrompt="1"/>
          </p:nvPr>
        </p:nvSpPr>
        <p:spPr>
          <a:xfrm>
            <a:off x="457199"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hasCustomPrompt="1"/>
          </p:nvPr>
        </p:nvSpPr>
        <p:spPr>
          <a:xfrm>
            <a:off x="6215063"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6414FEE0-F648-B4AD-281A-6AF5852DE406}"/>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31057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9248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a:lstStyle/>
          <a:p>
            <a:r>
              <a:rPr lang="en-US" dirty="0"/>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hasCustomPrompt="1"/>
          </p:nvPr>
        </p:nvSpPr>
        <p:spPr>
          <a:xfrm>
            <a:off x="457200"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Content Placeholder 5">
            <a:extLst>
              <a:ext uri="{FF2B5EF4-FFF2-40B4-BE49-F238E27FC236}">
                <a16:creationId xmlns:a16="http://schemas.microsoft.com/office/drawing/2014/main" id="{021BE228-66AE-6843-8E02-F38AB2654096}"/>
              </a:ext>
            </a:extLst>
          </p:cNvPr>
          <p:cNvSpPr>
            <a:spLocks noGrp="1"/>
          </p:cNvSpPr>
          <p:nvPr>
            <p:ph sz="quarter" idx="13" hasCustomPrompt="1"/>
          </p:nvPr>
        </p:nvSpPr>
        <p:spPr>
          <a:xfrm>
            <a:off x="4295273"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4" name="Content Placeholder 5">
            <a:extLst>
              <a:ext uri="{FF2B5EF4-FFF2-40B4-BE49-F238E27FC236}">
                <a16:creationId xmlns:a16="http://schemas.microsoft.com/office/drawing/2014/main" id="{9AB33A90-9E8D-1947-98FD-768EFEB80DE8}"/>
              </a:ext>
            </a:extLst>
          </p:cNvPr>
          <p:cNvSpPr>
            <a:spLocks noGrp="1"/>
          </p:cNvSpPr>
          <p:nvPr>
            <p:ph sz="quarter" idx="14" hasCustomPrompt="1"/>
          </p:nvPr>
        </p:nvSpPr>
        <p:spPr>
          <a:xfrm>
            <a:off x="8133346" y="1691640"/>
            <a:ext cx="359840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E5D3B96A-BDBE-D9F1-E2C0-AD6CFDC6D54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793117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780270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a:lstStyle/>
          <a:p>
            <a:r>
              <a:rPr lang="en-US" dirty="0"/>
              <a:t>Click to edit master title style</a:t>
            </a:r>
          </a:p>
        </p:txBody>
      </p:sp>
      <p:sp>
        <p:nvSpPr>
          <p:cNvPr id="12" name="Content Placeholder 3">
            <a:extLst>
              <a:ext uri="{FF2B5EF4-FFF2-40B4-BE49-F238E27FC236}">
                <a16:creationId xmlns:a16="http://schemas.microsoft.com/office/drawing/2014/main" id="{CEE01E8D-84E1-AD12-A782-E87DA9984AC7}"/>
              </a:ext>
            </a:extLst>
          </p:cNvPr>
          <p:cNvSpPr>
            <a:spLocks noGrp="1"/>
          </p:cNvSpPr>
          <p:nvPr>
            <p:ph sz="quarter" idx="21"/>
          </p:nvPr>
        </p:nvSpPr>
        <p:spPr>
          <a:xfrm>
            <a:off x="475443"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a:extLst>
              <a:ext uri="{FF2B5EF4-FFF2-40B4-BE49-F238E27FC236}">
                <a16:creationId xmlns:a16="http://schemas.microsoft.com/office/drawing/2014/main" id="{40A5DD05-C4B6-9843-A62D-C443760176FF}"/>
              </a:ext>
            </a:extLst>
          </p:cNvPr>
          <p:cNvSpPr>
            <a:spLocks noGrp="1"/>
          </p:cNvSpPr>
          <p:nvPr>
            <p:ph sz="quarter" idx="22"/>
          </p:nvPr>
        </p:nvSpPr>
        <p:spPr>
          <a:xfrm>
            <a:off x="3348289"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93CE002-5F00-5D51-39E4-CDE4D7B5FA5E}"/>
              </a:ext>
            </a:extLst>
          </p:cNvPr>
          <p:cNvSpPr>
            <a:spLocks noGrp="1"/>
          </p:cNvSpPr>
          <p:nvPr>
            <p:ph sz="quarter" idx="23"/>
          </p:nvPr>
        </p:nvSpPr>
        <p:spPr>
          <a:xfrm>
            <a:off x="6221135"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45A1531-CBA7-6DF4-28FE-E74AA1D63197}"/>
              </a:ext>
            </a:extLst>
          </p:cNvPr>
          <p:cNvSpPr>
            <a:spLocks noGrp="1"/>
          </p:cNvSpPr>
          <p:nvPr>
            <p:ph sz="quarter" idx="24"/>
          </p:nvPr>
        </p:nvSpPr>
        <p:spPr>
          <a:xfrm>
            <a:off x="9093980"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682B0F9C-F359-AEAB-FF55-507B53BBD44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8819557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rgbClr val="5009B5"/>
                </a:solidFill>
                <a:latin typeface="+mj-lt"/>
              </a:defRPr>
            </a:lvl1pPr>
          </a:lstStyle>
          <a:p>
            <a:pPr lvl="0"/>
            <a:r>
              <a:rPr lang="en-US" dirty="0"/>
              <a:t>Thank you!</a:t>
            </a:r>
          </a:p>
        </p:txBody>
      </p:sp>
    </p:spTree>
    <p:extLst>
      <p:ext uri="{BB962C8B-B14F-4D97-AF65-F5344CB8AC3E}">
        <p14:creationId xmlns:p14="http://schemas.microsoft.com/office/powerpoint/2010/main" val="10749313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chemeClr val="bg1"/>
                </a:solidFill>
                <a:latin typeface="+mj-lt"/>
              </a:defRPr>
            </a:lvl1pPr>
          </a:lstStyle>
          <a:p>
            <a:pPr lvl="0"/>
            <a:r>
              <a:rPr lang="en-US" dirty="0"/>
              <a:t>Thank you!</a:t>
            </a:r>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Box 10">
            <a:extLst>
              <a:ext uri="{FF2B5EF4-FFF2-40B4-BE49-F238E27FC236}">
                <a16:creationId xmlns:a16="http://schemas.microsoft.com/office/drawing/2014/main" id="{9FA824AD-9AF3-884E-A622-DF0B54F2471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1987127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pic>
        <p:nvPicPr>
          <p:cNvPr id="15" name="Graphic 14">
            <a:extLst>
              <a:ext uri="{FF2B5EF4-FFF2-40B4-BE49-F238E27FC236}">
                <a16:creationId xmlns:a16="http://schemas.microsoft.com/office/drawing/2014/main" id="{38087043-B1C0-F448-917B-5850AF56263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5088" y="578424"/>
            <a:ext cx="1785575" cy="384339"/>
          </a:xfrm>
          <a:prstGeom prst="rect">
            <a:avLst/>
          </a:prstGeom>
        </p:spPr>
      </p:pic>
      <p:sp>
        <p:nvSpPr>
          <p:cNvPr id="17" name="Title 1">
            <a:extLst>
              <a:ext uri="{FF2B5EF4-FFF2-40B4-BE49-F238E27FC236}">
                <a16:creationId xmlns:a16="http://schemas.microsoft.com/office/drawing/2014/main" id="{589C51D4-69ED-7B4E-A17D-1AE8A998B922}"/>
              </a:ext>
            </a:extLst>
          </p:cNvPr>
          <p:cNvSpPr>
            <a:spLocks noGrp="1"/>
          </p:cNvSpPr>
          <p:nvPr>
            <p:ph type="ctrTitle" hasCustomPrompt="1"/>
          </p:nvPr>
        </p:nvSpPr>
        <p:spPr>
          <a:xfrm>
            <a:off x="457198" y="3759716"/>
            <a:ext cx="9366251" cy="622714"/>
          </a:xfrm>
        </p:spPr>
        <p:txBody>
          <a:bodyPr vert="horz" anchor="t"/>
          <a:lstStyle>
            <a:lvl1pPr algn="l">
              <a:defRPr sz="5000">
                <a:solidFill>
                  <a:schemeClr val="bg1"/>
                </a:solidFill>
              </a:defRPr>
            </a:lvl1pPr>
          </a:lstStyle>
          <a:p>
            <a:r>
              <a:rPr lang="en-US" dirty="0"/>
              <a:t>Click to add presentation title</a:t>
            </a:r>
          </a:p>
        </p:txBody>
      </p:sp>
      <p:sp>
        <p:nvSpPr>
          <p:cNvPr id="18" name="Subtitle 2">
            <a:extLst>
              <a:ext uri="{FF2B5EF4-FFF2-40B4-BE49-F238E27FC236}">
                <a16:creationId xmlns:a16="http://schemas.microsoft.com/office/drawing/2014/main" id="{302C2242-2804-EE44-ADAF-48FD023883FC}"/>
              </a:ext>
            </a:extLst>
          </p:cNvPr>
          <p:cNvSpPr>
            <a:spLocks noGrp="1"/>
          </p:cNvSpPr>
          <p:nvPr>
            <p:ph type="subTitle" idx="1" hasCustomPrompt="1"/>
          </p:nvPr>
        </p:nvSpPr>
        <p:spPr>
          <a:xfrm>
            <a:off x="457198" y="5382895"/>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9" name="Text Placeholder 11">
            <a:extLst>
              <a:ext uri="{FF2B5EF4-FFF2-40B4-BE49-F238E27FC236}">
                <a16:creationId xmlns:a16="http://schemas.microsoft.com/office/drawing/2014/main" id="{2B2F6DB0-6DE3-A540-B328-7DCA1A7E7232}"/>
              </a:ext>
            </a:extLst>
          </p:cNvPr>
          <p:cNvSpPr>
            <a:spLocks noGrp="1"/>
          </p:cNvSpPr>
          <p:nvPr>
            <p:ph type="body" sz="quarter" idx="11" hasCustomPrompt="1"/>
          </p:nvPr>
        </p:nvSpPr>
        <p:spPr>
          <a:xfrm>
            <a:off x="457198" y="5611495"/>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pic>
        <p:nvPicPr>
          <p:cNvPr id="13" name="Graphic 12">
            <a:extLst>
              <a:ext uri="{FF2B5EF4-FFF2-40B4-BE49-F238E27FC236}">
                <a16:creationId xmlns:a16="http://schemas.microsoft.com/office/drawing/2014/main" id="{37157042-8210-A28A-FF88-F7A53B439EA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60963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46B48EC6-05B8-2A40-BD24-08137FEB8B5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58626" y="3162659"/>
            <a:ext cx="2474748" cy="532681"/>
          </a:xfrm>
          <a:prstGeom prst="rect">
            <a:avLst/>
          </a:prstGeom>
        </p:spPr>
      </p:pic>
    </p:spTree>
    <p:extLst>
      <p:ext uri="{BB962C8B-B14F-4D97-AF65-F5344CB8AC3E}">
        <p14:creationId xmlns:p14="http://schemas.microsoft.com/office/powerpoint/2010/main" val="3523231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11" name="Text Placeholder 10">
            <a:extLst>
              <a:ext uri="{FF2B5EF4-FFF2-40B4-BE49-F238E27FC236}">
                <a16:creationId xmlns:a16="http://schemas.microsoft.com/office/drawing/2014/main" id="{A594C2A4-538B-4E49-80F8-EE4DD8A3842A}"/>
              </a:ext>
            </a:extLst>
          </p:cNvPr>
          <p:cNvSpPr>
            <a:spLocks noGrp="1"/>
          </p:cNvSpPr>
          <p:nvPr>
            <p:ph type="body" sz="quarter" idx="13"/>
          </p:nvPr>
        </p:nvSpPr>
        <p:spPr>
          <a:xfrm>
            <a:off x="0" y="0"/>
            <a:ext cx="12192000" cy="6858000"/>
          </a:xfrm>
          <a:gradFill>
            <a:gsLst>
              <a:gs pos="0">
                <a:srgbClr val="000000">
                  <a:alpha val="34000"/>
                </a:srgbClr>
              </a:gs>
              <a:gs pos="71000">
                <a:srgbClr val="000000">
                  <a:alpha val="0"/>
                </a:srgbClr>
              </a:gs>
            </a:gsLst>
            <a:lin ang="0" scaled="0"/>
          </a:gradFill>
        </p:spPr>
        <p:txBody>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0307" y="4517136"/>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0307" y="4758997"/>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sp>
        <p:nvSpPr>
          <p:cNvPr id="10" name="Title 1">
            <a:extLst>
              <a:ext uri="{FF2B5EF4-FFF2-40B4-BE49-F238E27FC236}">
                <a16:creationId xmlns:a16="http://schemas.microsoft.com/office/drawing/2014/main" id="{5CEDBC19-C442-234E-A082-5522435460F1}"/>
              </a:ext>
            </a:extLst>
          </p:cNvPr>
          <p:cNvSpPr>
            <a:spLocks noGrp="1"/>
          </p:cNvSpPr>
          <p:nvPr>
            <p:ph type="ctrTitle" hasCustomPrompt="1"/>
          </p:nvPr>
        </p:nvSpPr>
        <p:spPr>
          <a:xfrm>
            <a:off x="410307" y="2587226"/>
            <a:ext cx="8354282" cy="1572610"/>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9" name="Text Placeholder 8">
            <a:extLst>
              <a:ext uri="{FF2B5EF4-FFF2-40B4-BE49-F238E27FC236}">
                <a16:creationId xmlns:a16="http://schemas.microsoft.com/office/drawing/2014/main" id="{932CDF93-DAF8-4DC2-6B85-64C5B49A0D23}"/>
              </a:ext>
            </a:extLst>
          </p:cNvPr>
          <p:cNvSpPr>
            <a:spLocks noGrp="1"/>
          </p:cNvSpPr>
          <p:nvPr>
            <p:ph type="body" sz="quarter" idx="14"/>
          </p:nvPr>
        </p:nvSpPr>
        <p:spPr>
          <a:xfrm>
            <a:off x="10000228" y="578183"/>
            <a:ext cx="1778688" cy="383935"/>
          </a:xfrm>
          <a:custGeom>
            <a:avLst/>
            <a:gdLst>
              <a:gd name="connsiteX0" fmla="*/ 1758931 w 1778688"/>
              <a:gd name="connsiteY0" fmla="*/ 270064 h 383935"/>
              <a:gd name="connsiteX1" fmla="*/ 1765112 w 1778688"/>
              <a:gd name="connsiteY1" fmla="*/ 270064 h 383935"/>
              <a:gd name="connsiteX2" fmla="*/ 1768824 w 1778688"/>
              <a:gd name="connsiteY2" fmla="*/ 284017 h 383935"/>
              <a:gd name="connsiteX3" fmla="*/ 1772493 w 1778688"/>
              <a:gd name="connsiteY3" fmla="*/ 270064 h 383935"/>
              <a:gd name="connsiteX4" fmla="*/ 1778688 w 1778688"/>
              <a:gd name="connsiteY4" fmla="*/ 270064 h 383935"/>
              <a:gd name="connsiteX5" fmla="*/ 1778688 w 1778688"/>
              <a:gd name="connsiteY5" fmla="*/ 290519 h 383935"/>
              <a:gd name="connsiteX6" fmla="*/ 1774851 w 1778688"/>
              <a:gd name="connsiteY6" fmla="*/ 290519 h 383935"/>
              <a:gd name="connsiteX7" fmla="*/ 1774851 w 1778688"/>
              <a:gd name="connsiteY7" fmla="*/ 274418 h 383935"/>
              <a:gd name="connsiteX8" fmla="*/ 1770791 w 1778688"/>
              <a:gd name="connsiteY8" fmla="*/ 290519 h 383935"/>
              <a:gd name="connsiteX9" fmla="*/ 1766815 w 1778688"/>
              <a:gd name="connsiteY9" fmla="*/ 290519 h 383935"/>
              <a:gd name="connsiteX10" fmla="*/ 1762768 w 1778688"/>
              <a:gd name="connsiteY10" fmla="*/ 274418 h 383935"/>
              <a:gd name="connsiteX11" fmla="*/ 1762768 w 1778688"/>
              <a:gd name="connsiteY11" fmla="*/ 290519 h 383935"/>
              <a:gd name="connsiteX12" fmla="*/ 1758931 w 1778688"/>
              <a:gd name="connsiteY12" fmla="*/ 290519 h 383935"/>
              <a:gd name="connsiteX13" fmla="*/ 1747095 w 1778688"/>
              <a:gd name="connsiteY13" fmla="*/ 269716 h 383935"/>
              <a:gd name="connsiteX14" fmla="*/ 1752892 w 1778688"/>
              <a:gd name="connsiteY14" fmla="*/ 271404 h 383935"/>
              <a:gd name="connsiteX15" fmla="*/ 1754936 w 1778688"/>
              <a:gd name="connsiteY15" fmla="*/ 275911 h 383935"/>
              <a:gd name="connsiteX16" fmla="*/ 1750806 w 1778688"/>
              <a:gd name="connsiteY16" fmla="*/ 276092 h 383935"/>
              <a:gd name="connsiteX17" fmla="*/ 1749669 w 1778688"/>
              <a:gd name="connsiteY17" fmla="*/ 273825 h 383935"/>
              <a:gd name="connsiteX18" fmla="*/ 1747053 w 1778688"/>
              <a:gd name="connsiteY18" fmla="*/ 273134 h 383935"/>
              <a:gd name="connsiteX19" fmla="*/ 1744234 w 1778688"/>
              <a:gd name="connsiteY19" fmla="*/ 273874 h 383935"/>
              <a:gd name="connsiteX20" fmla="*/ 1743579 w 1778688"/>
              <a:gd name="connsiteY20" fmla="*/ 275143 h 383935"/>
              <a:gd name="connsiteX21" fmla="*/ 1744193 w 1778688"/>
              <a:gd name="connsiteY21" fmla="*/ 276385 h 383935"/>
              <a:gd name="connsiteX22" fmla="*/ 1747988 w 1778688"/>
              <a:gd name="connsiteY22" fmla="*/ 277752 h 383935"/>
              <a:gd name="connsiteX23" fmla="*/ 1752446 w 1778688"/>
              <a:gd name="connsiteY23" fmla="*/ 279224 h 383935"/>
              <a:gd name="connsiteX24" fmla="*/ 1754706 w 1778688"/>
              <a:gd name="connsiteY24" fmla="*/ 281303 h 383935"/>
              <a:gd name="connsiteX25" fmla="*/ 1755522 w 1778688"/>
              <a:gd name="connsiteY25" fmla="*/ 284561 h 383935"/>
              <a:gd name="connsiteX26" fmla="*/ 1754545 w 1778688"/>
              <a:gd name="connsiteY26" fmla="*/ 287854 h 383935"/>
              <a:gd name="connsiteX27" fmla="*/ 1751783 w 1778688"/>
              <a:gd name="connsiteY27" fmla="*/ 290135 h 383935"/>
              <a:gd name="connsiteX28" fmla="*/ 1747332 w 1778688"/>
              <a:gd name="connsiteY28" fmla="*/ 290882 h 383935"/>
              <a:gd name="connsiteX29" fmla="*/ 1741374 w 1778688"/>
              <a:gd name="connsiteY29" fmla="*/ 289089 h 383935"/>
              <a:gd name="connsiteX30" fmla="*/ 1738891 w 1778688"/>
              <a:gd name="connsiteY30" fmla="*/ 283864 h 383935"/>
              <a:gd name="connsiteX31" fmla="*/ 1742909 w 1778688"/>
              <a:gd name="connsiteY31" fmla="*/ 283473 h 383935"/>
              <a:gd name="connsiteX32" fmla="*/ 1744381 w 1778688"/>
              <a:gd name="connsiteY32" fmla="*/ 286445 h 383935"/>
              <a:gd name="connsiteX33" fmla="*/ 1747374 w 1778688"/>
              <a:gd name="connsiteY33" fmla="*/ 287394 h 383935"/>
              <a:gd name="connsiteX34" fmla="*/ 1750381 w 1778688"/>
              <a:gd name="connsiteY34" fmla="*/ 286550 h 383935"/>
              <a:gd name="connsiteX35" fmla="*/ 1751392 w 1778688"/>
              <a:gd name="connsiteY35" fmla="*/ 284575 h 383935"/>
              <a:gd name="connsiteX36" fmla="*/ 1750967 w 1778688"/>
              <a:gd name="connsiteY36" fmla="*/ 283340 h 383935"/>
              <a:gd name="connsiteX37" fmla="*/ 1749481 w 1778688"/>
              <a:gd name="connsiteY37" fmla="*/ 282454 h 383935"/>
              <a:gd name="connsiteX38" fmla="*/ 1746174 w 1778688"/>
              <a:gd name="connsiteY38" fmla="*/ 281561 h 383935"/>
              <a:gd name="connsiteX39" fmla="*/ 1741514 w 1778688"/>
              <a:gd name="connsiteY39" fmla="*/ 279538 h 383935"/>
              <a:gd name="connsiteX40" fmla="*/ 1739630 w 1778688"/>
              <a:gd name="connsiteY40" fmla="*/ 275422 h 383935"/>
              <a:gd name="connsiteX41" fmla="*/ 1740516 w 1778688"/>
              <a:gd name="connsiteY41" fmla="*/ 272499 h 383935"/>
              <a:gd name="connsiteX42" fmla="*/ 1743069 w 1778688"/>
              <a:gd name="connsiteY42" fmla="*/ 270427 h 383935"/>
              <a:gd name="connsiteX43" fmla="*/ 1747095 w 1778688"/>
              <a:gd name="connsiteY43" fmla="*/ 269716 h 383935"/>
              <a:gd name="connsiteX44" fmla="*/ 1415465 w 1778688"/>
              <a:gd name="connsiteY44" fmla="*/ 138005 h 383935"/>
              <a:gd name="connsiteX45" fmla="*/ 1361597 w 1778688"/>
              <a:gd name="connsiteY45" fmla="*/ 195655 h 383935"/>
              <a:gd name="connsiteX46" fmla="*/ 1415465 w 1778688"/>
              <a:gd name="connsiteY46" fmla="*/ 253724 h 383935"/>
              <a:gd name="connsiteX47" fmla="*/ 1468492 w 1778688"/>
              <a:gd name="connsiteY47" fmla="*/ 195655 h 383935"/>
              <a:gd name="connsiteX48" fmla="*/ 1415465 w 1778688"/>
              <a:gd name="connsiteY48" fmla="*/ 138005 h 383935"/>
              <a:gd name="connsiteX49" fmla="*/ 743459 w 1778688"/>
              <a:gd name="connsiteY49" fmla="*/ 138005 h 383935"/>
              <a:gd name="connsiteX50" fmla="*/ 689592 w 1778688"/>
              <a:gd name="connsiteY50" fmla="*/ 195655 h 383935"/>
              <a:gd name="connsiteX51" fmla="*/ 743459 w 1778688"/>
              <a:gd name="connsiteY51" fmla="*/ 253724 h 383935"/>
              <a:gd name="connsiteX52" fmla="*/ 796486 w 1778688"/>
              <a:gd name="connsiteY52" fmla="*/ 195655 h 383935"/>
              <a:gd name="connsiteX53" fmla="*/ 743459 w 1778688"/>
              <a:gd name="connsiteY53" fmla="*/ 138005 h 383935"/>
              <a:gd name="connsiteX54" fmla="*/ 262734 w 1778688"/>
              <a:gd name="connsiteY54" fmla="*/ 137498 h 383935"/>
              <a:gd name="connsiteX55" fmla="*/ 274738 w 1778688"/>
              <a:gd name="connsiteY55" fmla="*/ 143636 h 383935"/>
              <a:gd name="connsiteX56" fmla="*/ 293344 w 1778688"/>
              <a:gd name="connsiteY56" fmla="*/ 146913 h 383935"/>
              <a:gd name="connsiteX57" fmla="*/ 274648 w 1778688"/>
              <a:gd name="connsiteY57" fmla="*/ 191961 h 383935"/>
              <a:gd name="connsiteX58" fmla="*/ 279029 w 1778688"/>
              <a:gd name="connsiteY58" fmla="*/ 199767 h 383935"/>
              <a:gd name="connsiteX59" fmla="*/ 293434 w 1778688"/>
              <a:gd name="connsiteY59" fmla="*/ 198665 h 383935"/>
              <a:gd name="connsiteX60" fmla="*/ 308889 w 1778688"/>
              <a:gd name="connsiteY60" fmla="*/ 199946 h 383935"/>
              <a:gd name="connsiteX61" fmla="*/ 385447 w 1778688"/>
              <a:gd name="connsiteY61" fmla="*/ 306637 h 383935"/>
              <a:gd name="connsiteX62" fmla="*/ 277979 w 1778688"/>
              <a:gd name="connsiteY62" fmla="*/ 382641 h 383935"/>
              <a:gd name="connsiteX63" fmla="*/ 201424 w 1778688"/>
              <a:gd name="connsiteY63" fmla="*/ 275950 h 383935"/>
              <a:gd name="connsiteX64" fmla="*/ 238756 w 1778688"/>
              <a:gd name="connsiteY64" fmla="*/ 291204 h 383935"/>
              <a:gd name="connsiteX65" fmla="*/ 248297 w 1778688"/>
              <a:gd name="connsiteY65" fmla="*/ 321925 h 383935"/>
              <a:gd name="connsiteX66" fmla="*/ 324254 w 1778688"/>
              <a:gd name="connsiteY66" fmla="*/ 336080 h 383935"/>
              <a:gd name="connsiteX67" fmla="*/ 338512 w 1778688"/>
              <a:gd name="connsiteY67" fmla="*/ 260669 h 383935"/>
              <a:gd name="connsiteX68" fmla="*/ 262554 w 1778688"/>
              <a:gd name="connsiteY68" fmla="*/ 246514 h 383935"/>
              <a:gd name="connsiteX69" fmla="*/ 240077 w 1778688"/>
              <a:gd name="connsiteY69" fmla="*/ 191961 h 383935"/>
              <a:gd name="connsiteX70" fmla="*/ 1113718 w 1778688"/>
              <a:gd name="connsiteY70" fmla="*/ 133387 h 383935"/>
              <a:gd name="connsiteX71" fmla="*/ 1064532 w 1778688"/>
              <a:gd name="connsiteY71" fmla="*/ 176439 h 383935"/>
              <a:gd name="connsiteX72" fmla="*/ 1161733 w 1778688"/>
              <a:gd name="connsiteY72" fmla="*/ 176439 h 383935"/>
              <a:gd name="connsiteX73" fmla="*/ 1113718 w 1778688"/>
              <a:gd name="connsiteY73" fmla="*/ 133387 h 383935"/>
              <a:gd name="connsiteX74" fmla="*/ 1651972 w 1778688"/>
              <a:gd name="connsiteY74" fmla="*/ 89947 h 383935"/>
              <a:gd name="connsiteX75" fmla="*/ 1728556 w 1778688"/>
              <a:gd name="connsiteY75" fmla="*/ 174770 h 383935"/>
              <a:gd name="connsiteX76" fmla="*/ 1728556 w 1778688"/>
              <a:gd name="connsiteY76" fmla="*/ 295911 h 383935"/>
              <a:gd name="connsiteX77" fmla="*/ 1677210 w 1778688"/>
              <a:gd name="connsiteY77" fmla="*/ 295911 h 383935"/>
              <a:gd name="connsiteX78" fmla="*/ 1677210 w 1778688"/>
              <a:gd name="connsiteY78" fmla="*/ 182278 h 383935"/>
              <a:gd name="connsiteX79" fmla="*/ 1636397 w 1778688"/>
              <a:gd name="connsiteY79" fmla="*/ 138005 h 383935"/>
              <a:gd name="connsiteX80" fmla="*/ 1595163 w 1778688"/>
              <a:gd name="connsiteY80" fmla="*/ 182278 h 383935"/>
              <a:gd name="connsiteX81" fmla="*/ 1595163 w 1778688"/>
              <a:gd name="connsiteY81" fmla="*/ 295911 h 383935"/>
              <a:gd name="connsiteX82" fmla="*/ 1543817 w 1778688"/>
              <a:gd name="connsiteY82" fmla="*/ 295911 h 383935"/>
              <a:gd name="connsiteX83" fmla="*/ 1543817 w 1778688"/>
              <a:gd name="connsiteY83" fmla="*/ 95787 h 383935"/>
              <a:gd name="connsiteX84" fmla="*/ 1595163 w 1778688"/>
              <a:gd name="connsiteY84" fmla="*/ 95787 h 383935"/>
              <a:gd name="connsiteX85" fmla="*/ 1595163 w 1778688"/>
              <a:gd name="connsiteY85" fmla="*/ 115421 h 383935"/>
              <a:gd name="connsiteX86" fmla="*/ 1651972 w 1778688"/>
              <a:gd name="connsiteY86" fmla="*/ 89947 h 383935"/>
              <a:gd name="connsiteX87" fmla="*/ 1415045 w 1778688"/>
              <a:gd name="connsiteY87" fmla="*/ 89947 h 383935"/>
              <a:gd name="connsiteX88" fmla="*/ 1520259 w 1778688"/>
              <a:gd name="connsiteY88" fmla="*/ 196073 h 383935"/>
              <a:gd name="connsiteX89" fmla="*/ 1415168 w 1778688"/>
              <a:gd name="connsiteY89" fmla="*/ 301781 h 383935"/>
              <a:gd name="connsiteX90" fmla="*/ 1415045 w 1778688"/>
              <a:gd name="connsiteY90" fmla="*/ 301781 h 383935"/>
              <a:gd name="connsiteX91" fmla="*/ 1310281 w 1778688"/>
              <a:gd name="connsiteY91" fmla="*/ 196073 h 383935"/>
              <a:gd name="connsiteX92" fmla="*/ 1415045 w 1778688"/>
              <a:gd name="connsiteY92" fmla="*/ 89947 h 383935"/>
              <a:gd name="connsiteX93" fmla="*/ 1112908 w 1778688"/>
              <a:gd name="connsiteY93" fmla="*/ 89947 h 383935"/>
              <a:gd name="connsiteX94" fmla="*/ 1214340 w 1778688"/>
              <a:gd name="connsiteY94" fmla="*/ 191902 h 383935"/>
              <a:gd name="connsiteX95" fmla="*/ 1213080 w 1778688"/>
              <a:gd name="connsiteY95" fmla="*/ 208616 h 383935"/>
              <a:gd name="connsiteX96" fmla="*/ 1063692 w 1778688"/>
              <a:gd name="connsiteY96" fmla="*/ 208616 h 383935"/>
              <a:gd name="connsiteX97" fmla="*/ 1121340 w 1778688"/>
              <a:gd name="connsiteY97" fmla="*/ 256643 h 383935"/>
              <a:gd name="connsiteX98" fmla="*/ 1170586 w 1778688"/>
              <a:gd name="connsiteY98" fmla="*/ 235788 h 383935"/>
              <a:gd name="connsiteX99" fmla="*/ 1197085 w 1778688"/>
              <a:gd name="connsiteY99" fmla="*/ 270468 h 383935"/>
              <a:gd name="connsiteX100" fmla="*/ 1119240 w 1778688"/>
              <a:gd name="connsiteY100" fmla="*/ 301811 h 383935"/>
              <a:gd name="connsiteX101" fmla="*/ 1011085 w 1778688"/>
              <a:gd name="connsiteY101" fmla="*/ 196073 h 383935"/>
              <a:gd name="connsiteX102" fmla="*/ 1112908 w 1778688"/>
              <a:gd name="connsiteY102" fmla="*/ 89947 h 383935"/>
              <a:gd name="connsiteX103" fmla="*/ 735056 w 1778688"/>
              <a:gd name="connsiteY103" fmla="*/ 89947 h 383935"/>
              <a:gd name="connsiteX104" fmla="*/ 796486 w 1778688"/>
              <a:gd name="connsiteY104" fmla="*/ 115838 h 383935"/>
              <a:gd name="connsiteX105" fmla="*/ 796486 w 1778688"/>
              <a:gd name="connsiteY105" fmla="*/ 95787 h 383935"/>
              <a:gd name="connsiteX106" fmla="*/ 848253 w 1778688"/>
              <a:gd name="connsiteY106" fmla="*/ 95787 h 383935"/>
              <a:gd name="connsiteX107" fmla="*/ 848253 w 1778688"/>
              <a:gd name="connsiteY107" fmla="*/ 295911 h 383935"/>
              <a:gd name="connsiteX108" fmla="*/ 796486 w 1778688"/>
              <a:gd name="connsiteY108" fmla="*/ 295911 h 383935"/>
              <a:gd name="connsiteX109" fmla="*/ 796486 w 1778688"/>
              <a:gd name="connsiteY109" fmla="*/ 274192 h 383935"/>
              <a:gd name="connsiteX110" fmla="*/ 735056 w 1778688"/>
              <a:gd name="connsiteY110" fmla="*/ 301781 h 383935"/>
              <a:gd name="connsiteX111" fmla="*/ 638245 w 1778688"/>
              <a:gd name="connsiteY111" fmla="*/ 196073 h 383935"/>
              <a:gd name="connsiteX112" fmla="*/ 735056 w 1778688"/>
              <a:gd name="connsiteY112" fmla="*/ 89947 h 383935"/>
              <a:gd name="connsiteX113" fmla="*/ 556409 w 1778688"/>
              <a:gd name="connsiteY113" fmla="*/ 89947 h 383935"/>
              <a:gd name="connsiteX114" fmla="*/ 635935 w 1778688"/>
              <a:gd name="connsiteY114" fmla="*/ 120039 h 383935"/>
              <a:gd name="connsiteX115" fmla="*/ 606465 w 1778688"/>
              <a:gd name="connsiteY115" fmla="*/ 156387 h 383935"/>
              <a:gd name="connsiteX116" fmla="*/ 558930 w 1778688"/>
              <a:gd name="connsiteY116" fmla="*/ 138005 h 383935"/>
              <a:gd name="connsiteX117" fmla="*/ 502542 w 1778688"/>
              <a:gd name="connsiteY117" fmla="*/ 195655 h 383935"/>
              <a:gd name="connsiteX118" fmla="*/ 558510 w 1778688"/>
              <a:gd name="connsiteY118" fmla="*/ 253724 h 383935"/>
              <a:gd name="connsiteX119" fmla="*/ 608146 w 1778688"/>
              <a:gd name="connsiteY119" fmla="*/ 234089 h 383935"/>
              <a:gd name="connsiteX120" fmla="*/ 634254 w 1778688"/>
              <a:gd name="connsiteY120" fmla="*/ 271689 h 383935"/>
              <a:gd name="connsiteX121" fmla="*/ 557249 w 1778688"/>
              <a:gd name="connsiteY121" fmla="*/ 301781 h 383935"/>
              <a:gd name="connsiteX122" fmla="*/ 451192 w 1778688"/>
              <a:gd name="connsiteY122" fmla="*/ 197148 h 383935"/>
              <a:gd name="connsiteX123" fmla="*/ 451195 w 1778688"/>
              <a:gd name="connsiteY123" fmla="*/ 196073 h 383935"/>
              <a:gd name="connsiteX124" fmla="*/ 556409 w 1778688"/>
              <a:gd name="connsiteY124" fmla="*/ 89947 h 383935"/>
              <a:gd name="connsiteX125" fmla="*/ 985847 w 1778688"/>
              <a:gd name="connsiteY125" fmla="*/ 89888 h 383935"/>
              <a:gd name="connsiteX126" fmla="*/ 1018258 w 1778688"/>
              <a:gd name="connsiteY126" fmla="*/ 99928 h 383935"/>
              <a:gd name="connsiteX127" fmla="*/ 996771 w 1778688"/>
              <a:gd name="connsiteY127" fmla="*/ 148373 h 383935"/>
              <a:gd name="connsiteX128" fmla="*/ 970272 w 1778688"/>
              <a:gd name="connsiteY128" fmla="*/ 139613 h 383935"/>
              <a:gd name="connsiteX129" fmla="*/ 936602 w 1778688"/>
              <a:gd name="connsiteY129" fmla="*/ 183887 h 383935"/>
              <a:gd name="connsiteX130" fmla="*/ 936602 w 1778688"/>
              <a:gd name="connsiteY130" fmla="*/ 295911 h 383935"/>
              <a:gd name="connsiteX131" fmla="*/ 885285 w 1778688"/>
              <a:gd name="connsiteY131" fmla="*/ 295911 h 383935"/>
              <a:gd name="connsiteX132" fmla="*/ 885285 w 1778688"/>
              <a:gd name="connsiteY132" fmla="*/ 95787 h 383935"/>
              <a:gd name="connsiteX133" fmla="*/ 936602 w 1778688"/>
              <a:gd name="connsiteY133" fmla="*/ 95787 h 383935"/>
              <a:gd name="connsiteX134" fmla="*/ 936602 w 1778688"/>
              <a:gd name="connsiteY134" fmla="*/ 117477 h 383935"/>
              <a:gd name="connsiteX135" fmla="*/ 985847 w 1778688"/>
              <a:gd name="connsiteY135" fmla="*/ 89888 h 383935"/>
              <a:gd name="connsiteX136" fmla="*/ 1235377 w 1778688"/>
              <a:gd name="connsiteY136" fmla="*/ 8491 h 383935"/>
              <a:gd name="connsiteX137" fmla="*/ 1286724 w 1778688"/>
              <a:gd name="connsiteY137" fmla="*/ 8491 h 383935"/>
              <a:gd name="connsiteX138" fmla="*/ 1286724 w 1778688"/>
              <a:gd name="connsiteY138" fmla="*/ 295912 h 383935"/>
              <a:gd name="connsiteX139" fmla="*/ 1235377 w 1778688"/>
              <a:gd name="connsiteY139" fmla="*/ 295912 h 383935"/>
              <a:gd name="connsiteX140" fmla="*/ 93300 w 1778688"/>
              <a:gd name="connsiteY140" fmla="*/ 0 h 383935"/>
              <a:gd name="connsiteX141" fmla="*/ 93300 w 1778688"/>
              <a:gd name="connsiteY141" fmla="*/ 30 h 383935"/>
              <a:gd name="connsiteX142" fmla="*/ 109343 w 1778688"/>
              <a:gd name="connsiteY142" fmla="*/ 1359 h 383935"/>
              <a:gd name="connsiteX143" fmla="*/ 184225 w 1778688"/>
              <a:gd name="connsiteY143" fmla="*/ 71343 h 383935"/>
              <a:gd name="connsiteX144" fmla="*/ 185309 w 1778688"/>
              <a:gd name="connsiteY144" fmla="*/ 107978 h 383935"/>
              <a:gd name="connsiteX145" fmla="*/ 193382 w 1778688"/>
              <a:gd name="connsiteY145" fmla="*/ 111280 h 383935"/>
              <a:gd name="connsiteX146" fmla="*/ 201244 w 1778688"/>
              <a:gd name="connsiteY146" fmla="*/ 106930 h 383935"/>
              <a:gd name="connsiteX147" fmla="*/ 200134 w 1778688"/>
              <a:gd name="connsiteY147" fmla="*/ 92629 h 383935"/>
              <a:gd name="connsiteX148" fmla="*/ 293434 w 1778688"/>
              <a:gd name="connsiteY148" fmla="*/ 0 h 383935"/>
              <a:gd name="connsiteX149" fmla="*/ 293434 w 1778688"/>
              <a:gd name="connsiteY149" fmla="*/ 149 h 383935"/>
              <a:gd name="connsiteX150" fmla="*/ 308877 w 1778688"/>
              <a:gd name="connsiteY150" fmla="*/ 1431 h 383935"/>
              <a:gd name="connsiteX151" fmla="*/ 385423 w 1778688"/>
              <a:gd name="connsiteY151" fmla="*/ 108131 h 383935"/>
              <a:gd name="connsiteX152" fmla="*/ 277949 w 1778688"/>
              <a:gd name="connsiteY152" fmla="*/ 184126 h 383935"/>
              <a:gd name="connsiteX153" fmla="*/ 293344 w 1778688"/>
              <a:gd name="connsiteY153" fmla="*/ 147062 h 383935"/>
              <a:gd name="connsiteX154" fmla="*/ 324287 w 1778688"/>
              <a:gd name="connsiteY154" fmla="*/ 137591 h 383935"/>
              <a:gd name="connsiteX155" fmla="*/ 338544 w 1778688"/>
              <a:gd name="connsiteY155" fmla="*/ 62180 h 383935"/>
              <a:gd name="connsiteX156" fmla="*/ 262587 w 1778688"/>
              <a:gd name="connsiteY156" fmla="*/ 48025 h 383935"/>
              <a:gd name="connsiteX157" fmla="*/ 248329 w 1778688"/>
              <a:gd name="connsiteY157" fmla="*/ 123436 h 383935"/>
              <a:gd name="connsiteX158" fmla="*/ 193382 w 1778688"/>
              <a:gd name="connsiteY158" fmla="*/ 145602 h 383935"/>
              <a:gd name="connsiteX159" fmla="*/ 138524 w 1778688"/>
              <a:gd name="connsiteY159" fmla="*/ 123168 h 383935"/>
              <a:gd name="connsiteX160" fmla="*/ 148003 w 1778688"/>
              <a:gd name="connsiteY160" fmla="*/ 92731 h 383935"/>
              <a:gd name="connsiteX161" fmla="*/ 138468 w 1778688"/>
              <a:gd name="connsiteY161" fmla="*/ 62028 h 383935"/>
              <a:gd name="connsiteX162" fmla="*/ 62510 w 1778688"/>
              <a:gd name="connsiteY162" fmla="*/ 47873 h 383935"/>
              <a:gd name="connsiteX163" fmla="*/ 48253 w 1778688"/>
              <a:gd name="connsiteY163" fmla="*/ 123284 h 383935"/>
              <a:gd name="connsiteX164" fmla="*/ 124210 w 1778688"/>
              <a:gd name="connsiteY164" fmla="*/ 137439 h 383935"/>
              <a:gd name="connsiteX165" fmla="*/ 146657 w 1778688"/>
              <a:gd name="connsiteY165" fmla="*/ 191961 h 383935"/>
              <a:gd name="connsiteX166" fmla="*/ 124000 w 1778688"/>
              <a:gd name="connsiteY166" fmla="*/ 246424 h 383935"/>
              <a:gd name="connsiteX167" fmla="*/ 111996 w 1778688"/>
              <a:gd name="connsiteY167" fmla="*/ 240287 h 383935"/>
              <a:gd name="connsiteX168" fmla="*/ 93390 w 1778688"/>
              <a:gd name="connsiteY168" fmla="*/ 237009 h 383935"/>
              <a:gd name="connsiteX169" fmla="*/ 62447 w 1778688"/>
              <a:gd name="connsiteY169" fmla="*/ 246480 h 383935"/>
              <a:gd name="connsiteX170" fmla="*/ 48189 w 1778688"/>
              <a:gd name="connsiteY170" fmla="*/ 321891 h 383935"/>
              <a:gd name="connsiteX171" fmla="*/ 124147 w 1778688"/>
              <a:gd name="connsiteY171" fmla="*/ 336046 h 383935"/>
              <a:gd name="connsiteX172" fmla="*/ 138404 w 1778688"/>
              <a:gd name="connsiteY172" fmla="*/ 260635 h 383935"/>
              <a:gd name="connsiteX173" fmla="*/ 193382 w 1778688"/>
              <a:gd name="connsiteY173" fmla="*/ 238320 h 383935"/>
              <a:gd name="connsiteX174" fmla="*/ 248210 w 1778688"/>
              <a:gd name="connsiteY174" fmla="*/ 260754 h 383935"/>
              <a:gd name="connsiteX175" fmla="*/ 238757 w 1778688"/>
              <a:gd name="connsiteY175" fmla="*/ 291203 h 383935"/>
              <a:gd name="connsiteX176" fmla="*/ 193382 w 1778688"/>
              <a:gd name="connsiteY176" fmla="*/ 272642 h 383935"/>
              <a:gd name="connsiteX177" fmla="*/ 185519 w 1778688"/>
              <a:gd name="connsiteY177" fmla="*/ 276992 h 383935"/>
              <a:gd name="connsiteX178" fmla="*/ 185351 w 1778688"/>
              <a:gd name="connsiteY178" fmla="*/ 306526 h 383935"/>
              <a:gd name="connsiteX179" fmla="*/ 77998 w 1778688"/>
              <a:gd name="connsiteY179" fmla="*/ 382542 h 383935"/>
              <a:gd name="connsiteX180" fmla="*/ 1431 w 1778688"/>
              <a:gd name="connsiteY180" fmla="*/ 275961 h 383935"/>
              <a:gd name="connsiteX181" fmla="*/ 71780 w 1778688"/>
              <a:gd name="connsiteY181" fmla="*/ 201171 h 383935"/>
              <a:gd name="connsiteX182" fmla="*/ 108762 w 1778688"/>
              <a:gd name="connsiteY182" fmla="*/ 199946 h 383935"/>
              <a:gd name="connsiteX183" fmla="*/ 112086 w 1778688"/>
              <a:gd name="connsiteY183" fmla="*/ 191932 h 383935"/>
              <a:gd name="connsiteX184" fmla="*/ 107705 w 1778688"/>
              <a:gd name="connsiteY184" fmla="*/ 184155 h 383935"/>
              <a:gd name="connsiteX185" fmla="*/ 93300 w 1778688"/>
              <a:gd name="connsiteY185" fmla="*/ 185258 h 383935"/>
              <a:gd name="connsiteX186" fmla="*/ 0 w 1778688"/>
              <a:gd name="connsiteY186" fmla="*/ 92629 h 383935"/>
              <a:gd name="connsiteX187" fmla="*/ 93300 w 1778688"/>
              <a:gd name="connsiteY187" fmla="*/ 0 h 38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778688" h="383935">
                <a:moveTo>
                  <a:pt x="1758931" y="270064"/>
                </a:moveTo>
                <a:lnTo>
                  <a:pt x="1765112" y="270064"/>
                </a:lnTo>
                <a:lnTo>
                  <a:pt x="1768824" y="284017"/>
                </a:lnTo>
                <a:lnTo>
                  <a:pt x="1772493" y="270064"/>
                </a:lnTo>
                <a:lnTo>
                  <a:pt x="1778688" y="270064"/>
                </a:lnTo>
                <a:lnTo>
                  <a:pt x="1778688" y="290519"/>
                </a:lnTo>
                <a:lnTo>
                  <a:pt x="1774851" y="290519"/>
                </a:lnTo>
                <a:lnTo>
                  <a:pt x="1774851" y="274418"/>
                </a:lnTo>
                <a:lnTo>
                  <a:pt x="1770791" y="290519"/>
                </a:lnTo>
                <a:lnTo>
                  <a:pt x="1766815" y="290519"/>
                </a:lnTo>
                <a:lnTo>
                  <a:pt x="1762768" y="274418"/>
                </a:lnTo>
                <a:lnTo>
                  <a:pt x="1762768" y="290519"/>
                </a:lnTo>
                <a:lnTo>
                  <a:pt x="1758931" y="290519"/>
                </a:lnTo>
                <a:close/>
                <a:moveTo>
                  <a:pt x="1747095" y="269716"/>
                </a:moveTo>
                <a:cubicBezTo>
                  <a:pt x="1749662" y="269716"/>
                  <a:pt x="1751594" y="270278"/>
                  <a:pt x="1752892" y="271404"/>
                </a:cubicBezTo>
                <a:cubicBezTo>
                  <a:pt x="1754190" y="272529"/>
                  <a:pt x="1754871" y="274032"/>
                  <a:pt x="1754936" y="275911"/>
                </a:cubicBezTo>
                <a:lnTo>
                  <a:pt x="1750806" y="276092"/>
                </a:lnTo>
                <a:cubicBezTo>
                  <a:pt x="1750629" y="275041"/>
                  <a:pt x="1750250" y="274285"/>
                  <a:pt x="1749669" y="273825"/>
                </a:cubicBezTo>
                <a:cubicBezTo>
                  <a:pt x="1749088" y="273364"/>
                  <a:pt x="1748216" y="273134"/>
                  <a:pt x="1747053" y="273134"/>
                </a:cubicBezTo>
                <a:cubicBezTo>
                  <a:pt x="1745853" y="273134"/>
                  <a:pt x="1744914" y="273381"/>
                  <a:pt x="1744234" y="273874"/>
                </a:cubicBezTo>
                <a:cubicBezTo>
                  <a:pt x="1743797" y="274190"/>
                  <a:pt x="1743579" y="274613"/>
                  <a:pt x="1743579" y="275143"/>
                </a:cubicBezTo>
                <a:cubicBezTo>
                  <a:pt x="1743579" y="275627"/>
                  <a:pt x="1743783" y="276041"/>
                  <a:pt x="1744193" y="276385"/>
                </a:cubicBezTo>
                <a:cubicBezTo>
                  <a:pt x="1744714" y="276822"/>
                  <a:pt x="1745979" y="277278"/>
                  <a:pt x="1747988" y="277752"/>
                </a:cubicBezTo>
                <a:cubicBezTo>
                  <a:pt x="1749997" y="278227"/>
                  <a:pt x="1751483" y="278717"/>
                  <a:pt x="1752446" y="279224"/>
                </a:cubicBezTo>
                <a:cubicBezTo>
                  <a:pt x="1753408" y="279731"/>
                  <a:pt x="1754162" y="280424"/>
                  <a:pt x="1754706" y="281303"/>
                </a:cubicBezTo>
                <a:cubicBezTo>
                  <a:pt x="1755250" y="282182"/>
                  <a:pt x="1755522" y="283268"/>
                  <a:pt x="1755522" y="284561"/>
                </a:cubicBezTo>
                <a:cubicBezTo>
                  <a:pt x="1755522" y="285733"/>
                  <a:pt x="1755197" y="286831"/>
                  <a:pt x="1754545" y="287854"/>
                </a:cubicBezTo>
                <a:cubicBezTo>
                  <a:pt x="1753894" y="288877"/>
                  <a:pt x="1752973" y="289638"/>
                  <a:pt x="1751783" y="290135"/>
                </a:cubicBezTo>
                <a:cubicBezTo>
                  <a:pt x="1750592" y="290633"/>
                  <a:pt x="1749109" y="290882"/>
                  <a:pt x="1747332" y="290882"/>
                </a:cubicBezTo>
                <a:cubicBezTo>
                  <a:pt x="1744746" y="290882"/>
                  <a:pt x="1742760" y="290284"/>
                  <a:pt x="1741374" y="289089"/>
                </a:cubicBezTo>
                <a:cubicBezTo>
                  <a:pt x="1739988" y="287894"/>
                  <a:pt x="1739160" y="286152"/>
                  <a:pt x="1738891" y="283864"/>
                </a:cubicBezTo>
                <a:lnTo>
                  <a:pt x="1742909" y="283473"/>
                </a:lnTo>
                <a:cubicBezTo>
                  <a:pt x="1743151" y="284822"/>
                  <a:pt x="1743641" y="285812"/>
                  <a:pt x="1744381" y="286445"/>
                </a:cubicBezTo>
                <a:cubicBezTo>
                  <a:pt x="1745120" y="287077"/>
                  <a:pt x="1746118" y="287394"/>
                  <a:pt x="1747374" y="287394"/>
                </a:cubicBezTo>
                <a:cubicBezTo>
                  <a:pt x="1748704" y="287394"/>
                  <a:pt x="1749706" y="287112"/>
                  <a:pt x="1750381" y="286550"/>
                </a:cubicBezTo>
                <a:cubicBezTo>
                  <a:pt x="1751055" y="285987"/>
                  <a:pt x="1751392" y="285329"/>
                  <a:pt x="1751392" y="284575"/>
                </a:cubicBezTo>
                <a:cubicBezTo>
                  <a:pt x="1751392" y="284092"/>
                  <a:pt x="1751250" y="283680"/>
                  <a:pt x="1750967" y="283340"/>
                </a:cubicBezTo>
                <a:cubicBezTo>
                  <a:pt x="1750683" y="283001"/>
                  <a:pt x="1750188" y="282706"/>
                  <a:pt x="1749481" y="282454"/>
                </a:cubicBezTo>
                <a:cubicBezTo>
                  <a:pt x="1748997" y="282287"/>
                  <a:pt x="1747895" y="281989"/>
                  <a:pt x="1746174" y="281561"/>
                </a:cubicBezTo>
                <a:cubicBezTo>
                  <a:pt x="1743960" y="281013"/>
                  <a:pt x="1742407" y="280338"/>
                  <a:pt x="1741514" y="279538"/>
                </a:cubicBezTo>
                <a:cubicBezTo>
                  <a:pt x="1740258" y="278413"/>
                  <a:pt x="1739630" y="277041"/>
                  <a:pt x="1739630" y="275422"/>
                </a:cubicBezTo>
                <a:cubicBezTo>
                  <a:pt x="1739630" y="274380"/>
                  <a:pt x="1739925" y="273406"/>
                  <a:pt x="1740516" y="272499"/>
                </a:cubicBezTo>
                <a:cubicBezTo>
                  <a:pt x="1741107" y="271592"/>
                  <a:pt x="1741958" y="270902"/>
                  <a:pt x="1743069" y="270427"/>
                </a:cubicBezTo>
                <a:cubicBezTo>
                  <a:pt x="1744181" y="269953"/>
                  <a:pt x="1745523" y="269716"/>
                  <a:pt x="1747095" y="269716"/>
                </a:cubicBezTo>
                <a:close/>
                <a:moveTo>
                  <a:pt x="1415465" y="138005"/>
                </a:moveTo>
                <a:cubicBezTo>
                  <a:pt x="1384735" y="138005"/>
                  <a:pt x="1361597" y="163478"/>
                  <a:pt x="1361597" y="195655"/>
                </a:cubicBezTo>
                <a:cubicBezTo>
                  <a:pt x="1361597" y="227833"/>
                  <a:pt x="1384345" y="253724"/>
                  <a:pt x="1415465" y="253724"/>
                </a:cubicBezTo>
                <a:cubicBezTo>
                  <a:pt x="1446585" y="253724"/>
                  <a:pt x="1468492" y="227714"/>
                  <a:pt x="1468492" y="195655"/>
                </a:cubicBezTo>
                <a:cubicBezTo>
                  <a:pt x="1468492" y="163478"/>
                  <a:pt x="1446195" y="138005"/>
                  <a:pt x="1415465" y="138005"/>
                </a:cubicBezTo>
                <a:close/>
                <a:moveTo>
                  <a:pt x="743459" y="138005"/>
                </a:moveTo>
                <a:cubicBezTo>
                  <a:pt x="712729" y="138005"/>
                  <a:pt x="689592" y="163478"/>
                  <a:pt x="689592" y="195655"/>
                </a:cubicBezTo>
                <a:cubicBezTo>
                  <a:pt x="689592" y="227833"/>
                  <a:pt x="712309" y="253724"/>
                  <a:pt x="743459" y="253724"/>
                </a:cubicBezTo>
                <a:cubicBezTo>
                  <a:pt x="774609" y="253724"/>
                  <a:pt x="796486" y="227714"/>
                  <a:pt x="796486" y="195655"/>
                </a:cubicBezTo>
                <a:cubicBezTo>
                  <a:pt x="796486" y="163478"/>
                  <a:pt x="774189" y="138005"/>
                  <a:pt x="743459" y="138005"/>
                </a:cubicBezTo>
                <a:close/>
                <a:moveTo>
                  <a:pt x="262734" y="137498"/>
                </a:moveTo>
                <a:cubicBezTo>
                  <a:pt x="266461" y="140037"/>
                  <a:pt x="270492" y="142099"/>
                  <a:pt x="274738" y="143636"/>
                </a:cubicBezTo>
                <a:cubicBezTo>
                  <a:pt x="280701" y="145793"/>
                  <a:pt x="286997" y="146901"/>
                  <a:pt x="293344" y="146913"/>
                </a:cubicBezTo>
                <a:lnTo>
                  <a:pt x="274648" y="191961"/>
                </a:lnTo>
                <a:lnTo>
                  <a:pt x="279029" y="199767"/>
                </a:lnTo>
                <a:cubicBezTo>
                  <a:pt x="283795" y="199022"/>
                  <a:pt x="288612" y="198653"/>
                  <a:pt x="293434" y="198665"/>
                </a:cubicBezTo>
                <a:cubicBezTo>
                  <a:pt x="298614" y="198665"/>
                  <a:pt x="303784" y="199094"/>
                  <a:pt x="308889" y="199946"/>
                </a:cubicBezTo>
                <a:cubicBezTo>
                  <a:pt x="359707" y="208419"/>
                  <a:pt x="393982" y="256188"/>
                  <a:pt x="385447" y="306637"/>
                </a:cubicBezTo>
                <a:cubicBezTo>
                  <a:pt x="376912" y="357087"/>
                  <a:pt x="328797" y="391117"/>
                  <a:pt x="277979" y="382641"/>
                </a:cubicBezTo>
                <a:cubicBezTo>
                  <a:pt x="227164" y="374168"/>
                  <a:pt x="192890" y="326400"/>
                  <a:pt x="201424" y="275950"/>
                </a:cubicBezTo>
                <a:lnTo>
                  <a:pt x="238756" y="291204"/>
                </a:lnTo>
                <a:cubicBezTo>
                  <a:pt x="238738" y="302165"/>
                  <a:pt x="242064" y="312876"/>
                  <a:pt x="248297" y="321925"/>
                </a:cubicBezTo>
                <a:cubicBezTo>
                  <a:pt x="265336" y="346656"/>
                  <a:pt x="299343" y="352993"/>
                  <a:pt x="324254" y="336080"/>
                </a:cubicBezTo>
                <a:cubicBezTo>
                  <a:pt x="349165" y="319163"/>
                  <a:pt x="355548" y="285400"/>
                  <a:pt x="338512" y="260669"/>
                </a:cubicBezTo>
                <a:cubicBezTo>
                  <a:pt x="321472" y="235937"/>
                  <a:pt x="287465" y="229600"/>
                  <a:pt x="262554" y="246514"/>
                </a:cubicBezTo>
                <a:lnTo>
                  <a:pt x="240077" y="191961"/>
                </a:lnTo>
                <a:close/>
                <a:moveTo>
                  <a:pt x="1113718" y="133387"/>
                </a:moveTo>
                <a:cubicBezTo>
                  <a:pt x="1088090" y="133387"/>
                  <a:pt x="1070414" y="150935"/>
                  <a:pt x="1064532" y="176439"/>
                </a:cubicBezTo>
                <a:lnTo>
                  <a:pt x="1161733" y="176439"/>
                </a:lnTo>
                <a:cubicBezTo>
                  <a:pt x="1155732" y="148015"/>
                  <a:pt x="1137726" y="133387"/>
                  <a:pt x="1113718" y="133387"/>
                </a:cubicBezTo>
                <a:close/>
                <a:moveTo>
                  <a:pt x="1651972" y="89947"/>
                </a:moveTo>
                <a:cubicBezTo>
                  <a:pt x="1698547" y="89947"/>
                  <a:pt x="1728556" y="122542"/>
                  <a:pt x="1728556" y="174770"/>
                </a:cubicBezTo>
                <a:lnTo>
                  <a:pt x="1728556" y="295911"/>
                </a:lnTo>
                <a:lnTo>
                  <a:pt x="1677210" y="295911"/>
                </a:lnTo>
                <a:lnTo>
                  <a:pt x="1677210" y="182278"/>
                </a:lnTo>
                <a:cubicBezTo>
                  <a:pt x="1677210" y="155136"/>
                  <a:pt x="1661215" y="138005"/>
                  <a:pt x="1636397" y="138005"/>
                </a:cubicBezTo>
                <a:cubicBezTo>
                  <a:pt x="1610739" y="138005"/>
                  <a:pt x="1595163" y="155136"/>
                  <a:pt x="1595163" y="182278"/>
                </a:cubicBezTo>
                <a:lnTo>
                  <a:pt x="1595163" y="295911"/>
                </a:lnTo>
                <a:lnTo>
                  <a:pt x="1543817" y="295911"/>
                </a:lnTo>
                <a:lnTo>
                  <a:pt x="1543817" y="95787"/>
                </a:lnTo>
                <a:lnTo>
                  <a:pt x="1595163" y="95787"/>
                </a:lnTo>
                <a:lnTo>
                  <a:pt x="1595163" y="115421"/>
                </a:lnTo>
                <a:cubicBezTo>
                  <a:pt x="1607768" y="99154"/>
                  <a:pt x="1627124" y="89947"/>
                  <a:pt x="1651972" y="89947"/>
                </a:cubicBezTo>
                <a:close/>
                <a:moveTo>
                  <a:pt x="1415045" y="89947"/>
                </a:moveTo>
                <a:cubicBezTo>
                  <a:pt x="1473534" y="89947"/>
                  <a:pt x="1520259" y="137617"/>
                  <a:pt x="1520259" y="196073"/>
                </a:cubicBezTo>
                <a:cubicBezTo>
                  <a:pt x="1520640" y="254075"/>
                  <a:pt x="1473591" y="301399"/>
                  <a:pt x="1415168" y="301781"/>
                </a:cubicBezTo>
                <a:cubicBezTo>
                  <a:pt x="1415129" y="301781"/>
                  <a:pt x="1415087" y="301781"/>
                  <a:pt x="1415045" y="301781"/>
                </a:cubicBezTo>
                <a:cubicBezTo>
                  <a:pt x="1356436" y="301781"/>
                  <a:pt x="1310281" y="254141"/>
                  <a:pt x="1310281" y="196073"/>
                </a:cubicBezTo>
                <a:cubicBezTo>
                  <a:pt x="1310281" y="137588"/>
                  <a:pt x="1356556" y="89947"/>
                  <a:pt x="1415045" y="89947"/>
                </a:cubicBezTo>
                <a:close/>
                <a:moveTo>
                  <a:pt x="1112908" y="89947"/>
                </a:moveTo>
                <a:cubicBezTo>
                  <a:pt x="1170976" y="89947"/>
                  <a:pt x="1214340" y="134221"/>
                  <a:pt x="1214340" y="191902"/>
                </a:cubicBezTo>
                <a:cubicBezTo>
                  <a:pt x="1214458" y="197500"/>
                  <a:pt x="1214034" y="203098"/>
                  <a:pt x="1213080" y="208616"/>
                </a:cubicBezTo>
                <a:lnTo>
                  <a:pt x="1063692" y="208616"/>
                </a:lnTo>
                <a:cubicBezTo>
                  <a:pt x="1068734" y="236592"/>
                  <a:pt x="1090190" y="256643"/>
                  <a:pt x="1121340" y="256643"/>
                </a:cubicBezTo>
                <a:cubicBezTo>
                  <a:pt x="1139928" y="256625"/>
                  <a:pt x="1157709" y="249094"/>
                  <a:pt x="1170586" y="235788"/>
                </a:cubicBezTo>
                <a:lnTo>
                  <a:pt x="1197085" y="270468"/>
                </a:lnTo>
                <a:cubicBezTo>
                  <a:pt x="1182080" y="288016"/>
                  <a:pt x="1153331" y="301811"/>
                  <a:pt x="1119240" y="301811"/>
                </a:cubicBezTo>
                <a:cubicBezTo>
                  <a:pt x="1056520" y="301781"/>
                  <a:pt x="1011085" y="254141"/>
                  <a:pt x="1011085" y="196073"/>
                </a:cubicBezTo>
                <a:cubicBezTo>
                  <a:pt x="1011085" y="137588"/>
                  <a:pt x="1054839" y="89947"/>
                  <a:pt x="1112908" y="89947"/>
                </a:cubicBezTo>
                <a:close/>
                <a:moveTo>
                  <a:pt x="735056" y="89947"/>
                </a:moveTo>
                <a:cubicBezTo>
                  <a:pt x="761555" y="89947"/>
                  <a:pt x="782171" y="99571"/>
                  <a:pt x="796486" y="115838"/>
                </a:cubicBezTo>
                <a:lnTo>
                  <a:pt x="796486" y="95787"/>
                </a:lnTo>
                <a:lnTo>
                  <a:pt x="848253" y="95787"/>
                </a:lnTo>
                <a:lnTo>
                  <a:pt x="848253" y="295911"/>
                </a:lnTo>
                <a:lnTo>
                  <a:pt x="796486" y="295911"/>
                </a:lnTo>
                <a:lnTo>
                  <a:pt x="796486" y="274192"/>
                </a:lnTo>
                <a:cubicBezTo>
                  <a:pt x="781274" y="292151"/>
                  <a:pt x="758686" y="302296"/>
                  <a:pt x="735056" y="301781"/>
                </a:cubicBezTo>
                <a:cubicBezTo>
                  <a:pt x="681609" y="301781"/>
                  <a:pt x="638245" y="258312"/>
                  <a:pt x="638245" y="196073"/>
                </a:cubicBezTo>
                <a:cubicBezTo>
                  <a:pt x="638245" y="135502"/>
                  <a:pt x="679088" y="89947"/>
                  <a:pt x="735056" y="89947"/>
                </a:cubicBezTo>
                <a:close/>
                <a:moveTo>
                  <a:pt x="556409" y="89947"/>
                </a:moveTo>
                <a:cubicBezTo>
                  <a:pt x="590920" y="89947"/>
                  <a:pt x="618259" y="101656"/>
                  <a:pt x="635935" y="120039"/>
                </a:cubicBezTo>
                <a:lnTo>
                  <a:pt x="606465" y="156387"/>
                </a:lnTo>
                <a:cubicBezTo>
                  <a:pt x="593831" y="144044"/>
                  <a:pt x="576644" y="137397"/>
                  <a:pt x="558930" y="138005"/>
                </a:cubicBezTo>
                <a:cubicBezTo>
                  <a:pt x="525259" y="138005"/>
                  <a:pt x="502542" y="163478"/>
                  <a:pt x="502542" y="195655"/>
                </a:cubicBezTo>
                <a:cubicBezTo>
                  <a:pt x="502542" y="227833"/>
                  <a:pt x="525679" y="253724"/>
                  <a:pt x="558510" y="253724"/>
                </a:cubicBezTo>
                <a:cubicBezTo>
                  <a:pt x="577074" y="254248"/>
                  <a:pt x="595031" y="247142"/>
                  <a:pt x="608146" y="234089"/>
                </a:cubicBezTo>
                <a:lnTo>
                  <a:pt x="634254" y="271689"/>
                </a:lnTo>
                <a:cubicBezTo>
                  <a:pt x="618259" y="289238"/>
                  <a:pt x="589239" y="301781"/>
                  <a:pt x="557249" y="301781"/>
                </a:cubicBezTo>
                <a:cubicBezTo>
                  <a:pt x="498859" y="301962"/>
                  <a:pt x="451378" y="255118"/>
                  <a:pt x="451192" y="197148"/>
                </a:cubicBezTo>
                <a:cubicBezTo>
                  <a:pt x="451192" y="196791"/>
                  <a:pt x="451192" y="196430"/>
                  <a:pt x="451195" y="196073"/>
                </a:cubicBezTo>
                <a:cubicBezTo>
                  <a:pt x="451195" y="137588"/>
                  <a:pt x="497500" y="89947"/>
                  <a:pt x="556409" y="89947"/>
                </a:cubicBezTo>
                <a:close/>
                <a:moveTo>
                  <a:pt x="985847" y="89888"/>
                </a:moveTo>
                <a:cubicBezTo>
                  <a:pt x="997485" y="89483"/>
                  <a:pt x="1008916" y="93022"/>
                  <a:pt x="1018258" y="99928"/>
                </a:cubicBezTo>
                <a:lnTo>
                  <a:pt x="996771" y="148373"/>
                </a:lnTo>
                <a:cubicBezTo>
                  <a:pt x="989142" y="142652"/>
                  <a:pt x="979833" y="139575"/>
                  <a:pt x="970272" y="139613"/>
                </a:cubicBezTo>
                <a:cubicBezTo>
                  <a:pt x="949656" y="139613"/>
                  <a:pt x="936602" y="156745"/>
                  <a:pt x="936602" y="183887"/>
                </a:cubicBezTo>
                <a:lnTo>
                  <a:pt x="936602" y="295911"/>
                </a:lnTo>
                <a:lnTo>
                  <a:pt x="885285" y="295911"/>
                </a:lnTo>
                <a:lnTo>
                  <a:pt x="885285" y="95787"/>
                </a:lnTo>
                <a:lnTo>
                  <a:pt x="936602" y="95787"/>
                </a:lnTo>
                <a:lnTo>
                  <a:pt x="936602" y="117477"/>
                </a:lnTo>
                <a:cubicBezTo>
                  <a:pt x="947975" y="100763"/>
                  <a:pt x="964811" y="89888"/>
                  <a:pt x="985847" y="89888"/>
                </a:cubicBezTo>
                <a:close/>
                <a:moveTo>
                  <a:pt x="1235377" y="8491"/>
                </a:moveTo>
                <a:lnTo>
                  <a:pt x="1286724" y="8491"/>
                </a:lnTo>
                <a:lnTo>
                  <a:pt x="1286724" y="295912"/>
                </a:lnTo>
                <a:lnTo>
                  <a:pt x="1235377" y="295912"/>
                </a:lnTo>
                <a:close/>
                <a:moveTo>
                  <a:pt x="93300" y="0"/>
                </a:moveTo>
                <a:lnTo>
                  <a:pt x="93300" y="30"/>
                </a:lnTo>
                <a:cubicBezTo>
                  <a:pt x="98678" y="12"/>
                  <a:pt x="104044" y="456"/>
                  <a:pt x="109343" y="1359"/>
                </a:cubicBezTo>
                <a:cubicBezTo>
                  <a:pt x="147325" y="7825"/>
                  <a:pt x="175950" y="36300"/>
                  <a:pt x="184225" y="71343"/>
                </a:cubicBezTo>
                <a:lnTo>
                  <a:pt x="185309" y="107978"/>
                </a:lnTo>
                <a:lnTo>
                  <a:pt x="193382" y="111280"/>
                </a:lnTo>
                <a:lnTo>
                  <a:pt x="201244" y="106930"/>
                </a:lnTo>
                <a:cubicBezTo>
                  <a:pt x="200494" y="102199"/>
                  <a:pt x="200122" y="97417"/>
                  <a:pt x="200134" y="92629"/>
                </a:cubicBezTo>
                <a:cubicBezTo>
                  <a:pt x="200134" y="41470"/>
                  <a:pt x="241904" y="0"/>
                  <a:pt x="293434" y="0"/>
                </a:cubicBezTo>
                <a:lnTo>
                  <a:pt x="293434" y="149"/>
                </a:lnTo>
                <a:cubicBezTo>
                  <a:pt x="298608" y="149"/>
                  <a:pt x="303772" y="578"/>
                  <a:pt x="308877" y="1431"/>
                </a:cubicBezTo>
                <a:cubicBezTo>
                  <a:pt x="359692" y="9910"/>
                  <a:pt x="393963" y="57681"/>
                  <a:pt x="385423" y="108131"/>
                </a:cubicBezTo>
                <a:cubicBezTo>
                  <a:pt x="376882" y="158580"/>
                  <a:pt x="328764" y="192605"/>
                  <a:pt x="277949" y="184126"/>
                </a:cubicBezTo>
                <a:lnTo>
                  <a:pt x="293344" y="147062"/>
                </a:lnTo>
                <a:cubicBezTo>
                  <a:pt x="304384" y="147080"/>
                  <a:pt x="315173" y="143779"/>
                  <a:pt x="324287" y="137591"/>
                </a:cubicBezTo>
                <a:cubicBezTo>
                  <a:pt x="349198" y="120674"/>
                  <a:pt x="355581" y="86912"/>
                  <a:pt x="338544" y="62180"/>
                </a:cubicBezTo>
                <a:cubicBezTo>
                  <a:pt x="321505" y="37448"/>
                  <a:pt x="287498" y="31111"/>
                  <a:pt x="262587" y="48025"/>
                </a:cubicBezTo>
                <a:cubicBezTo>
                  <a:pt x="237676" y="64942"/>
                  <a:pt x="231293" y="98704"/>
                  <a:pt x="248329" y="123436"/>
                </a:cubicBezTo>
                <a:lnTo>
                  <a:pt x="193382" y="145602"/>
                </a:lnTo>
                <a:lnTo>
                  <a:pt x="138524" y="123168"/>
                </a:lnTo>
                <a:lnTo>
                  <a:pt x="148003" y="92731"/>
                </a:lnTo>
                <a:lnTo>
                  <a:pt x="138468" y="62028"/>
                </a:lnTo>
                <a:cubicBezTo>
                  <a:pt x="121428" y="37296"/>
                  <a:pt x="87421" y="30959"/>
                  <a:pt x="62510" y="47873"/>
                </a:cubicBezTo>
                <a:cubicBezTo>
                  <a:pt x="37599" y="64790"/>
                  <a:pt x="31216" y="98552"/>
                  <a:pt x="48253" y="123284"/>
                </a:cubicBezTo>
                <a:cubicBezTo>
                  <a:pt x="65292" y="148016"/>
                  <a:pt x="99299" y="154353"/>
                  <a:pt x="124210" y="137439"/>
                </a:cubicBezTo>
                <a:lnTo>
                  <a:pt x="146657" y="191961"/>
                </a:lnTo>
                <a:lnTo>
                  <a:pt x="124000" y="246424"/>
                </a:lnTo>
                <a:cubicBezTo>
                  <a:pt x="120279" y="243880"/>
                  <a:pt x="116242" y="241818"/>
                  <a:pt x="111996" y="240287"/>
                </a:cubicBezTo>
                <a:cubicBezTo>
                  <a:pt x="106033" y="238130"/>
                  <a:pt x="99737" y="237018"/>
                  <a:pt x="93390" y="237009"/>
                </a:cubicBezTo>
                <a:cubicBezTo>
                  <a:pt x="82349" y="236991"/>
                  <a:pt x="71561" y="240292"/>
                  <a:pt x="62447" y="246480"/>
                </a:cubicBezTo>
                <a:cubicBezTo>
                  <a:pt x="37536" y="263397"/>
                  <a:pt x="31153" y="297159"/>
                  <a:pt x="48189" y="321891"/>
                </a:cubicBezTo>
                <a:cubicBezTo>
                  <a:pt x="65229" y="346623"/>
                  <a:pt x="99236" y="352960"/>
                  <a:pt x="124147" y="336046"/>
                </a:cubicBezTo>
                <a:cubicBezTo>
                  <a:pt x="149058" y="319129"/>
                  <a:pt x="155441" y="285367"/>
                  <a:pt x="138404" y="260635"/>
                </a:cubicBezTo>
                <a:lnTo>
                  <a:pt x="193382" y="238320"/>
                </a:lnTo>
                <a:lnTo>
                  <a:pt x="248210" y="260754"/>
                </a:lnTo>
                <a:cubicBezTo>
                  <a:pt x="242079" y="269746"/>
                  <a:pt x="238790" y="280347"/>
                  <a:pt x="238757" y="291203"/>
                </a:cubicBezTo>
                <a:lnTo>
                  <a:pt x="193382" y="272642"/>
                </a:lnTo>
                <a:lnTo>
                  <a:pt x="185519" y="276992"/>
                </a:lnTo>
                <a:cubicBezTo>
                  <a:pt x="187056" y="286782"/>
                  <a:pt x="186999" y="296754"/>
                  <a:pt x="185351" y="306526"/>
                </a:cubicBezTo>
                <a:cubicBezTo>
                  <a:pt x="176850" y="356949"/>
                  <a:pt x="128786" y="390983"/>
                  <a:pt x="77998" y="382542"/>
                </a:cubicBezTo>
                <a:cubicBezTo>
                  <a:pt x="27209" y="374102"/>
                  <a:pt x="-7071" y="326384"/>
                  <a:pt x="1431" y="275961"/>
                </a:cubicBezTo>
                <a:cubicBezTo>
                  <a:pt x="7808" y="238144"/>
                  <a:pt x="36437" y="209546"/>
                  <a:pt x="71780" y="201171"/>
                </a:cubicBezTo>
                <a:lnTo>
                  <a:pt x="108762" y="199946"/>
                </a:lnTo>
                <a:lnTo>
                  <a:pt x="112086" y="191932"/>
                </a:lnTo>
                <a:lnTo>
                  <a:pt x="107705" y="184155"/>
                </a:lnTo>
                <a:cubicBezTo>
                  <a:pt x="102939" y="184900"/>
                  <a:pt x="98123" y="185270"/>
                  <a:pt x="93300" y="185258"/>
                </a:cubicBezTo>
                <a:cubicBezTo>
                  <a:pt x="41770" y="185258"/>
                  <a:pt x="0" y="143788"/>
                  <a:pt x="0" y="92629"/>
                </a:cubicBezTo>
                <a:cubicBezTo>
                  <a:pt x="0" y="41470"/>
                  <a:pt x="41770" y="0"/>
                  <a:pt x="93300" y="0"/>
                </a:cubicBezTo>
                <a:close/>
              </a:path>
            </a:pathLst>
          </a:custGeom>
          <a:solidFill>
            <a:schemeClr val="bg1"/>
          </a:solidFill>
        </p:spPr>
        <p:txBody>
          <a:bodyPr wrap="square">
            <a:noAutofit/>
          </a:bodyPr>
          <a:lstStyle>
            <a:lvl1pPr>
              <a:defRPr sz="100">
                <a:solidFill>
                  <a:schemeClr val="bg1">
                    <a:alpha val="0"/>
                  </a:schemeClr>
                </a:solidFill>
              </a:defRPr>
            </a:lvl1pPr>
          </a:lstStyle>
          <a:p>
            <a:pPr lvl="0"/>
            <a:r>
              <a:rPr lang="en-US"/>
              <a:t>Click to edit Master text styles</a:t>
            </a:r>
          </a:p>
        </p:txBody>
      </p:sp>
    </p:spTree>
    <p:extLst>
      <p:ext uri="{BB962C8B-B14F-4D97-AF65-F5344CB8AC3E}">
        <p14:creationId xmlns:p14="http://schemas.microsoft.com/office/powerpoint/2010/main" val="19927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368036"/>
            <a:ext cx="5638800" cy="228600"/>
          </a:xfrm>
          <a:prstGeom prst="rect">
            <a:avLst/>
          </a:prstGeo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596636"/>
            <a:ext cx="5638800" cy="224536"/>
          </a:xfrm>
          <a:prstGeom prst="rect">
            <a:avLst/>
          </a:prstGeom>
        </p:spPr>
        <p:txBody>
          <a:bodyPr/>
          <a:lstStyle>
            <a:lvl1pPr marL="0" indent="0">
              <a:lnSpc>
                <a:spcPct val="100000"/>
              </a:lnSpc>
              <a:buNone/>
              <a:defRPr sz="1800" b="0" i="0">
                <a:latin typeface="+mn-lt"/>
              </a:defRPr>
            </a:lvl1pPr>
          </a:lstStyle>
          <a:p>
            <a:pPr lvl="0"/>
            <a:r>
              <a:rPr lang="en-US" dirty="0"/>
              <a:t>Click to add date</a:t>
            </a:r>
          </a:p>
        </p:txBody>
      </p:sp>
      <p:pic>
        <p:nvPicPr>
          <p:cNvPr id="8" name="Graphic 7">
            <a:extLst>
              <a:ext uri="{FF2B5EF4-FFF2-40B4-BE49-F238E27FC236}">
                <a16:creationId xmlns:a16="http://schemas.microsoft.com/office/drawing/2014/main" id="{E93D552E-25B4-83DE-3786-7C4BEDCA0C5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6156161"/>
            <a:ext cx="1785575" cy="384339"/>
          </a:xfrm>
          <a:prstGeom prst="rect">
            <a:avLst/>
          </a:prstGeom>
        </p:spPr>
      </p:pic>
    </p:spTree>
    <p:extLst>
      <p:ext uri="{BB962C8B-B14F-4D97-AF65-F5344CB8AC3E}">
        <p14:creationId xmlns:p14="http://schemas.microsoft.com/office/powerpoint/2010/main" val="415904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9" y="2635703"/>
            <a:ext cx="8349499" cy="1548385"/>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5089" y="4758997"/>
            <a:ext cx="5638800" cy="224536"/>
          </a:xfrm>
        </p:spPr>
        <p:txBody>
          <a:bodyPr vert="horz" lIns="0" tIns="0" rIns="0" bIns="0" rtlCol="0">
            <a:noAutofit/>
          </a:bodyPr>
          <a:lstStyle>
            <a:lvl1pPr>
              <a:defRPr lang="en-US" sz="1800" i="1" dirty="0">
                <a:solidFill>
                  <a:schemeClr val="bg1"/>
                </a:solidFill>
                <a:latin typeface="Elevance Sans Italic" pitchFamily="2" charset="0"/>
              </a:defRPr>
            </a:lvl1pPr>
          </a:lstStyle>
          <a:p>
            <a:pPr lvl="0"/>
            <a:r>
              <a:rPr lang="en-US" dirty="0"/>
              <a:t>Click to add date</a:t>
            </a:r>
          </a:p>
        </p:txBody>
      </p:sp>
      <p:sp>
        <p:nvSpPr>
          <p:cNvPr id="9" name="Subtitle 2">
            <a:extLst>
              <a:ext uri="{FF2B5EF4-FFF2-40B4-BE49-F238E27FC236}">
                <a16:creationId xmlns:a16="http://schemas.microsoft.com/office/drawing/2014/main" id="{5483F015-5D8D-2240-9F46-EE2695B6E53C}"/>
              </a:ext>
            </a:extLst>
          </p:cNvPr>
          <p:cNvSpPr>
            <a:spLocks noGrp="1"/>
          </p:cNvSpPr>
          <p:nvPr>
            <p:ph type="subTitle" idx="1" hasCustomPrompt="1"/>
          </p:nvPr>
        </p:nvSpPr>
        <p:spPr>
          <a:xfrm>
            <a:off x="415089"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0" name="Text Placeholder 9">
            <a:extLst>
              <a:ext uri="{FF2B5EF4-FFF2-40B4-BE49-F238E27FC236}">
                <a16:creationId xmlns:a16="http://schemas.microsoft.com/office/drawing/2014/main" id="{6E879377-5C16-FAC6-29B4-F10D03555B56}"/>
              </a:ext>
            </a:extLst>
          </p:cNvPr>
          <p:cNvSpPr>
            <a:spLocks noGrp="1"/>
          </p:cNvSpPr>
          <p:nvPr>
            <p:ph type="body" sz="quarter" idx="14"/>
          </p:nvPr>
        </p:nvSpPr>
        <p:spPr>
          <a:xfrm>
            <a:off x="9993856" y="578424"/>
            <a:ext cx="1778688" cy="383935"/>
          </a:xfrm>
          <a:custGeom>
            <a:avLst/>
            <a:gdLst>
              <a:gd name="connsiteX0" fmla="*/ 1758931 w 1778688"/>
              <a:gd name="connsiteY0" fmla="*/ 270064 h 383935"/>
              <a:gd name="connsiteX1" fmla="*/ 1765112 w 1778688"/>
              <a:gd name="connsiteY1" fmla="*/ 270064 h 383935"/>
              <a:gd name="connsiteX2" fmla="*/ 1768824 w 1778688"/>
              <a:gd name="connsiteY2" fmla="*/ 284017 h 383935"/>
              <a:gd name="connsiteX3" fmla="*/ 1772493 w 1778688"/>
              <a:gd name="connsiteY3" fmla="*/ 270064 h 383935"/>
              <a:gd name="connsiteX4" fmla="*/ 1778688 w 1778688"/>
              <a:gd name="connsiteY4" fmla="*/ 270064 h 383935"/>
              <a:gd name="connsiteX5" fmla="*/ 1778688 w 1778688"/>
              <a:gd name="connsiteY5" fmla="*/ 290519 h 383935"/>
              <a:gd name="connsiteX6" fmla="*/ 1774851 w 1778688"/>
              <a:gd name="connsiteY6" fmla="*/ 290519 h 383935"/>
              <a:gd name="connsiteX7" fmla="*/ 1774851 w 1778688"/>
              <a:gd name="connsiteY7" fmla="*/ 274418 h 383935"/>
              <a:gd name="connsiteX8" fmla="*/ 1770791 w 1778688"/>
              <a:gd name="connsiteY8" fmla="*/ 290519 h 383935"/>
              <a:gd name="connsiteX9" fmla="*/ 1766815 w 1778688"/>
              <a:gd name="connsiteY9" fmla="*/ 290519 h 383935"/>
              <a:gd name="connsiteX10" fmla="*/ 1762768 w 1778688"/>
              <a:gd name="connsiteY10" fmla="*/ 274418 h 383935"/>
              <a:gd name="connsiteX11" fmla="*/ 1762768 w 1778688"/>
              <a:gd name="connsiteY11" fmla="*/ 290519 h 383935"/>
              <a:gd name="connsiteX12" fmla="*/ 1758931 w 1778688"/>
              <a:gd name="connsiteY12" fmla="*/ 290519 h 383935"/>
              <a:gd name="connsiteX13" fmla="*/ 1747095 w 1778688"/>
              <a:gd name="connsiteY13" fmla="*/ 269716 h 383935"/>
              <a:gd name="connsiteX14" fmla="*/ 1752892 w 1778688"/>
              <a:gd name="connsiteY14" fmla="*/ 271404 h 383935"/>
              <a:gd name="connsiteX15" fmla="*/ 1754936 w 1778688"/>
              <a:gd name="connsiteY15" fmla="*/ 275911 h 383935"/>
              <a:gd name="connsiteX16" fmla="*/ 1750806 w 1778688"/>
              <a:gd name="connsiteY16" fmla="*/ 276092 h 383935"/>
              <a:gd name="connsiteX17" fmla="*/ 1749669 w 1778688"/>
              <a:gd name="connsiteY17" fmla="*/ 273825 h 383935"/>
              <a:gd name="connsiteX18" fmla="*/ 1747053 w 1778688"/>
              <a:gd name="connsiteY18" fmla="*/ 273134 h 383935"/>
              <a:gd name="connsiteX19" fmla="*/ 1744234 w 1778688"/>
              <a:gd name="connsiteY19" fmla="*/ 273874 h 383935"/>
              <a:gd name="connsiteX20" fmla="*/ 1743579 w 1778688"/>
              <a:gd name="connsiteY20" fmla="*/ 275143 h 383935"/>
              <a:gd name="connsiteX21" fmla="*/ 1744193 w 1778688"/>
              <a:gd name="connsiteY21" fmla="*/ 276385 h 383935"/>
              <a:gd name="connsiteX22" fmla="*/ 1747988 w 1778688"/>
              <a:gd name="connsiteY22" fmla="*/ 277752 h 383935"/>
              <a:gd name="connsiteX23" fmla="*/ 1752446 w 1778688"/>
              <a:gd name="connsiteY23" fmla="*/ 279224 h 383935"/>
              <a:gd name="connsiteX24" fmla="*/ 1754706 w 1778688"/>
              <a:gd name="connsiteY24" fmla="*/ 281303 h 383935"/>
              <a:gd name="connsiteX25" fmla="*/ 1755522 w 1778688"/>
              <a:gd name="connsiteY25" fmla="*/ 284561 h 383935"/>
              <a:gd name="connsiteX26" fmla="*/ 1754545 w 1778688"/>
              <a:gd name="connsiteY26" fmla="*/ 287854 h 383935"/>
              <a:gd name="connsiteX27" fmla="*/ 1751783 w 1778688"/>
              <a:gd name="connsiteY27" fmla="*/ 290135 h 383935"/>
              <a:gd name="connsiteX28" fmla="*/ 1747332 w 1778688"/>
              <a:gd name="connsiteY28" fmla="*/ 290882 h 383935"/>
              <a:gd name="connsiteX29" fmla="*/ 1741374 w 1778688"/>
              <a:gd name="connsiteY29" fmla="*/ 289089 h 383935"/>
              <a:gd name="connsiteX30" fmla="*/ 1738891 w 1778688"/>
              <a:gd name="connsiteY30" fmla="*/ 283864 h 383935"/>
              <a:gd name="connsiteX31" fmla="*/ 1742909 w 1778688"/>
              <a:gd name="connsiteY31" fmla="*/ 283473 h 383935"/>
              <a:gd name="connsiteX32" fmla="*/ 1744381 w 1778688"/>
              <a:gd name="connsiteY32" fmla="*/ 286445 h 383935"/>
              <a:gd name="connsiteX33" fmla="*/ 1747374 w 1778688"/>
              <a:gd name="connsiteY33" fmla="*/ 287394 h 383935"/>
              <a:gd name="connsiteX34" fmla="*/ 1750381 w 1778688"/>
              <a:gd name="connsiteY34" fmla="*/ 286550 h 383935"/>
              <a:gd name="connsiteX35" fmla="*/ 1751392 w 1778688"/>
              <a:gd name="connsiteY35" fmla="*/ 284575 h 383935"/>
              <a:gd name="connsiteX36" fmla="*/ 1750967 w 1778688"/>
              <a:gd name="connsiteY36" fmla="*/ 283340 h 383935"/>
              <a:gd name="connsiteX37" fmla="*/ 1749481 w 1778688"/>
              <a:gd name="connsiteY37" fmla="*/ 282454 h 383935"/>
              <a:gd name="connsiteX38" fmla="*/ 1746174 w 1778688"/>
              <a:gd name="connsiteY38" fmla="*/ 281561 h 383935"/>
              <a:gd name="connsiteX39" fmla="*/ 1741514 w 1778688"/>
              <a:gd name="connsiteY39" fmla="*/ 279538 h 383935"/>
              <a:gd name="connsiteX40" fmla="*/ 1739630 w 1778688"/>
              <a:gd name="connsiteY40" fmla="*/ 275422 h 383935"/>
              <a:gd name="connsiteX41" fmla="*/ 1740516 w 1778688"/>
              <a:gd name="connsiteY41" fmla="*/ 272499 h 383935"/>
              <a:gd name="connsiteX42" fmla="*/ 1743069 w 1778688"/>
              <a:gd name="connsiteY42" fmla="*/ 270427 h 383935"/>
              <a:gd name="connsiteX43" fmla="*/ 1747095 w 1778688"/>
              <a:gd name="connsiteY43" fmla="*/ 269716 h 383935"/>
              <a:gd name="connsiteX44" fmla="*/ 1415465 w 1778688"/>
              <a:gd name="connsiteY44" fmla="*/ 138005 h 383935"/>
              <a:gd name="connsiteX45" fmla="*/ 1361597 w 1778688"/>
              <a:gd name="connsiteY45" fmla="*/ 195655 h 383935"/>
              <a:gd name="connsiteX46" fmla="*/ 1415465 w 1778688"/>
              <a:gd name="connsiteY46" fmla="*/ 253724 h 383935"/>
              <a:gd name="connsiteX47" fmla="*/ 1468492 w 1778688"/>
              <a:gd name="connsiteY47" fmla="*/ 195655 h 383935"/>
              <a:gd name="connsiteX48" fmla="*/ 1415465 w 1778688"/>
              <a:gd name="connsiteY48" fmla="*/ 138005 h 383935"/>
              <a:gd name="connsiteX49" fmla="*/ 743459 w 1778688"/>
              <a:gd name="connsiteY49" fmla="*/ 138005 h 383935"/>
              <a:gd name="connsiteX50" fmla="*/ 689592 w 1778688"/>
              <a:gd name="connsiteY50" fmla="*/ 195655 h 383935"/>
              <a:gd name="connsiteX51" fmla="*/ 743459 w 1778688"/>
              <a:gd name="connsiteY51" fmla="*/ 253724 h 383935"/>
              <a:gd name="connsiteX52" fmla="*/ 796486 w 1778688"/>
              <a:gd name="connsiteY52" fmla="*/ 195655 h 383935"/>
              <a:gd name="connsiteX53" fmla="*/ 743459 w 1778688"/>
              <a:gd name="connsiteY53" fmla="*/ 138005 h 383935"/>
              <a:gd name="connsiteX54" fmla="*/ 262734 w 1778688"/>
              <a:gd name="connsiteY54" fmla="*/ 137498 h 383935"/>
              <a:gd name="connsiteX55" fmla="*/ 274738 w 1778688"/>
              <a:gd name="connsiteY55" fmla="*/ 143636 h 383935"/>
              <a:gd name="connsiteX56" fmla="*/ 293344 w 1778688"/>
              <a:gd name="connsiteY56" fmla="*/ 146913 h 383935"/>
              <a:gd name="connsiteX57" fmla="*/ 274648 w 1778688"/>
              <a:gd name="connsiteY57" fmla="*/ 191961 h 383935"/>
              <a:gd name="connsiteX58" fmla="*/ 279029 w 1778688"/>
              <a:gd name="connsiteY58" fmla="*/ 199767 h 383935"/>
              <a:gd name="connsiteX59" fmla="*/ 293434 w 1778688"/>
              <a:gd name="connsiteY59" fmla="*/ 198665 h 383935"/>
              <a:gd name="connsiteX60" fmla="*/ 308889 w 1778688"/>
              <a:gd name="connsiteY60" fmla="*/ 199946 h 383935"/>
              <a:gd name="connsiteX61" fmla="*/ 385447 w 1778688"/>
              <a:gd name="connsiteY61" fmla="*/ 306637 h 383935"/>
              <a:gd name="connsiteX62" fmla="*/ 277979 w 1778688"/>
              <a:gd name="connsiteY62" fmla="*/ 382641 h 383935"/>
              <a:gd name="connsiteX63" fmla="*/ 201424 w 1778688"/>
              <a:gd name="connsiteY63" fmla="*/ 275950 h 383935"/>
              <a:gd name="connsiteX64" fmla="*/ 238756 w 1778688"/>
              <a:gd name="connsiteY64" fmla="*/ 291204 h 383935"/>
              <a:gd name="connsiteX65" fmla="*/ 248297 w 1778688"/>
              <a:gd name="connsiteY65" fmla="*/ 321925 h 383935"/>
              <a:gd name="connsiteX66" fmla="*/ 324254 w 1778688"/>
              <a:gd name="connsiteY66" fmla="*/ 336080 h 383935"/>
              <a:gd name="connsiteX67" fmla="*/ 338512 w 1778688"/>
              <a:gd name="connsiteY67" fmla="*/ 260669 h 383935"/>
              <a:gd name="connsiteX68" fmla="*/ 262554 w 1778688"/>
              <a:gd name="connsiteY68" fmla="*/ 246514 h 383935"/>
              <a:gd name="connsiteX69" fmla="*/ 240077 w 1778688"/>
              <a:gd name="connsiteY69" fmla="*/ 191961 h 383935"/>
              <a:gd name="connsiteX70" fmla="*/ 1113718 w 1778688"/>
              <a:gd name="connsiteY70" fmla="*/ 133387 h 383935"/>
              <a:gd name="connsiteX71" fmla="*/ 1064532 w 1778688"/>
              <a:gd name="connsiteY71" fmla="*/ 176439 h 383935"/>
              <a:gd name="connsiteX72" fmla="*/ 1161733 w 1778688"/>
              <a:gd name="connsiteY72" fmla="*/ 176439 h 383935"/>
              <a:gd name="connsiteX73" fmla="*/ 1113718 w 1778688"/>
              <a:gd name="connsiteY73" fmla="*/ 133387 h 383935"/>
              <a:gd name="connsiteX74" fmla="*/ 1651972 w 1778688"/>
              <a:gd name="connsiteY74" fmla="*/ 89947 h 383935"/>
              <a:gd name="connsiteX75" fmla="*/ 1728556 w 1778688"/>
              <a:gd name="connsiteY75" fmla="*/ 174770 h 383935"/>
              <a:gd name="connsiteX76" fmla="*/ 1728556 w 1778688"/>
              <a:gd name="connsiteY76" fmla="*/ 295911 h 383935"/>
              <a:gd name="connsiteX77" fmla="*/ 1677210 w 1778688"/>
              <a:gd name="connsiteY77" fmla="*/ 295911 h 383935"/>
              <a:gd name="connsiteX78" fmla="*/ 1677210 w 1778688"/>
              <a:gd name="connsiteY78" fmla="*/ 182278 h 383935"/>
              <a:gd name="connsiteX79" fmla="*/ 1636397 w 1778688"/>
              <a:gd name="connsiteY79" fmla="*/ 138005 h 383935"/>
              <a:gd name="connsiteX80" fmla="*/ 1595163 w 1778688"/>
              <a:gd name="connsiteY80" fmla="*/ 182278 h 383935"/>
              <a:gd name="connsiteX81" fmla="*/ 1595163 w 1778688"/>
              <a:gd name="connsiteY81" fmla="*/ 295911 h 383935"/>
              <a:gd name="connsiteX82" fmla="*/ 1543817 w 1778688"/>
              <a:gd name="connsiteY82" fmla="*/ 295911 h 383935"/>
              <a:gd name="connsiteX83" fmla="*/ 1543817 w 1778688"/>
              <a:gd name="connsiteY83" fmla="*/ 95787 h 383935"/>
              <a:gd name="connsiteX84" fmla="*/ 1595163 w 1778688"/>
              <a:gd name="connsiteY84" fmla="*/ 95787 h 383935"/>
              <a:gd name="connsiteX85" fmla="*/ 1595163 w 1778688"/>
              <a:gd name="connsiteY85" fmla="*/ 115421 h 383935"/>
              <a:gd name="connsiteX86" fmla="*/ 1651972 w 1778688"/>
              <a:gd name="connsiteY86" fmla="*/ 89947 h 383935"/>
              <a:gd name="connsiteX87" fmla="*/ 1415045 w 1778688"/>
              <a:gd name="connsiteY87" fmla="*/ 89947 h 383935"/>
              <a:gd name="connsiteX88" fmla="*/ 1520259 w 1778688"/>
              <a:gd name="connsiteY88" fmla="*/ 196073 h 383935"/>
              <a:gd name="connsiteX89" fmla="*/ 1415168 w 1778688"/>
              <a:gd name="connsiteY89" fmla="*/ 301781 h 383935"/>
              <a:gd name="connsiteX90" fmla="*/ 1415045 w 1778688"/>
              <a:gd name="connsiteY90" fmla="*/ 301781 h 383935"/>
              <a:gd name="connsiteX91" fmla="*/ 1310281 w 1778688"/>
              <a:gd name="connsiteY91" fmla="*/ 196073 h 383935"/>
              <a:gd name="connsiteX92" fmla="*/ 1415045 w 1778688"/>
              <a:gd name="connsiteY92" fmla="*/ 89947 h 383935"/>
              <a:gd name="connsiteX93" fmla="*/ 1112908 w 1778688"/>
              <a:gd name="connsiteY93" fmla="*/ 89947 h 383935"/>
              <a:gd name="connsiteX94" fmla="*/ 1214340 w 1778688"/>
              <a:gd name="connsiteY94" fmla="*/ 191902 h 383935"/>
              <a:gd name="connsiteX95" fmla="*/ 1213080 w 1778688"/>
              <a:gd name="connsiteY95" fmla="*/ 208616 h 383935"/>
              <a:gd name="connsiteX96" fmla="*/ 1063692 w 1778688"/>
              <a:gd name="connsiteY96" fmla="*/ 208616 h 383935"/>
              <a:gd name="connsiteX97" fmla="*/ 1121340 w 1778688"/>
              <a:gd name="connsiteY97" fmla="*/ 256643 h 383935"/>
              <a:gd name="connsiteX98" fmla="*/ 1170586 w 1778688"/>
              <a:gd name="connsiteY98" fmla="*/ 235788 h 383935"/>
              <a:gd name="connsiteX99" fmla="*/ 1197085 w 1778688"/>
              <a:gd name="connsiteY99" fmla="*/ 270468 h 383935"/>
              <a:gd name="connsiteX100" fmla="*/ 1119240 w 1778688"/>
              <a:gd name="connsiteY100" fmla="*/ 301811 h 383935"/>
              <a:gd name="connsiteX101" fmla="*/ 1011085 w 1778688"/>
              <a:gd name="connsiteY101" fmla="*/ 196073 h 383935"/>
              <a:gd name="connsiteX102" fmla="*/ 1112908 w 1778688"/>
              <a:gd name="connsiteY102" fmla="*/ 89947 h 383935"/>
              <a:gd name="connsiteX103" fmla="*/ 735056 w 1778688"/>
              <a:gd name="connsiteY103" fmla="*/ 89947 h 383935"/>
              <a:gd name="connsiteX104" fmla="*/ 796486 w 1778688"/>
              <a:gd name="connsiteY104" fmla="*/ 115838 h 383935"/>
              <a:gd name="connsiteX105" fmla="*/ 796486 w 1778688"/>
              <a:gd name="connsiteY105" fmla="*/ 95787 h 383935"/>
              <a:gd name="connsiteX106" fmla="*/ 848253 w 1778688"/>
              <a:gd name="connsiteY106" fmla="*/ 95787 h 383935"/>
              <a:gd name="connsiteX107" fmla="*/ 848253 w 1778688"/>
              <a:gd name="connsiteY107" fmla="*/ 295911 h 383935"/>
              <a:gd name="connsiteX108" fmla="*/ 796486 w 1778688"/>
              <a:gd name="connsiteY108" fmla="*/ 295911 h 383935"/>
              <a:gd name="connsiteX109" fmla="*/ 796486 w 1778688"/>
              <a:gd name="connsiteY109" fmla="*/ 274192 h 383935"/>
              <a:gd name="connsiteX110" fmla="*/ 735056 w 1778688"/>
              <a:gd name="connsiteY110" fmla="*/ 301781 h 383935"/>
              <a:gd name="connsiteX111" fmla="*/ 638245 w 1778688"/>
              <a:gd name="connsiteY111" fmla="*/ 196073 h 383935"/>
              <a:gd name="connsiteX112" fmla="*/ 735056 w 1778688"/>
              <a:gd name="connsiteY112" fmla="*/ 89947 h 383935"/>
              <a:gd name="connsiteX113" fmla="*/ 556409 w 1778688"/>
              <a:gd name="connsiteY113" fmla="*/ 89947 h 383935"/>
              <a:gd name="connsiteX114" fmla="*/ 635935 w 1778688"/>
              <a:gd name="connsiteY114" fmla="*/ 120039 h 383935"/>
              <a:gd name="connsiteX115" fmla="*/ 606465 w 1778688"/>
              <a:gd name="connsiteY115" fmla="*/ 156387 h 383935"/>
              <a:gd name="connsiteX116" fmla="*/ 558930 w 1778688"/>
              <a:gd name="connsiteY116" fmla="*/ 138005 h 383935"/>
              <a:gd name="connsiteX117" fmla="*/ 502542 w 1778688"/>
              <a:gd name="connsiteY117" fmla="*/ 195655 h 383935"/>
              <a:gd name="connsiteX118" fmla="*/ 558510 w 1778688"/>
              <a:gd name="connsiteY118" fmla="*/ 253724 h 383935"/>
              <a:gd name="connsiteX119" fmla="*/ 608146 w 1778688"/>
              <a:gd name="connsiteY119" fmla="*/ 234089 h 383935"/>
              <a:gd name="connsiteX120" fmla="*/ 634254 w 1778688"/>
              <a:gd name="connsiteY120" fmla="*/ 271689 h 383935"/>
              <a:gd name="connsiteX121" fmla="*/ 557249 w 1778688"/>
              <a:gd name="connsiteY121" fmla="*/ 301781 h 383935"/>
              <a:gd name="connsiteX122" fmla="*/ 451192 w 1778688"/>
              <a:gd name="connsiteY122" fmla="*/ 197148 h 383935"/>
              <a:gd name="connsiteX123" fmla="*/ 451195 w 1778688"/>
              <a:gd name="connsiteY123" fmla="*/ 196073 h 383935"/>
              <a:gd name="connsiteX124" fmla="*/ 556409 w 1778688"/>
              <a:gd name="connsiteY124" fmla="*/ 89947 h 383935"/>
              <a:gd name="connsiteX125" fmla="*/ 985847 w 1778688"/>
              <a:gd name="connsiteY125" fmla="*/ 89888 h 383935"/>
              <a:gd name="connsiteX126" fmla="*/ 1018258 w 1778688"/>
              <a:gd name="connsiteY126" fmla="*/ 99928 h 383935"/>
              <a:gd name="connsiteX127" fmla="*/ 996771 w 1778688"/>
              <a:gd name="connsiteY127" fmla="*/ 148373 h 383935"/>
              <a:gd name="connsiteX128" fmla="*/ 970272 w 1778688"/>
              <a:gd name="connsiteY128" fmla="*/ 139613 h 383935"/>
              <a:gd name="connsiteX129" fmla="*/ 936602 w 1778688"/>
              <a:gd name="connsiteY129" fmla="*/ 183887 h 383935"/>
              <a:gd name="connsiteX130" fmla="*/ 936602 w 1778688"/>
              <a:gd name="connsiteY130" fmla="*/ 295911 h 383935"/>
              <a:gd name="connsiteX131" fmla="*/ 885285 w 1778688"/>
              <a:gd name="connsiteY131" fmla="*/ 295911 h 383935"/>
              <a:gd name="connsiteX132" fmla="*/ 885285 w 1778688"/>
              <a:gd name="connsiteY132" fmla="*/ 95787 h 383935"/>
              <a:gd name="connsiteX133" fmla="*/ 936602 w 1778688"/>
              <a:gd name="connsiteY133" fmla="*/ 95787 h 383935"/>
              <a:gd name="connsiteX134" fmla="*/ 936602 w 1778688"/>
              <a:gd name="connsiteY134" fmla="*/ 117477 h 383935"/>
              <a:gd name="connsiteX135" fmla="*/ 985847 w 1778688"/>
              <a:gd name="connsiteY135" fmla="*/ 89888 h 383935"/>
              <a:gd name="connsiteX136" fmla="*/ 1235377 w 1778688"/>
              <a:gd name="connsiteY136" fmla="*/ 8491 h 383935"/>
              <a:gd name="connsiteX137" fmla="*/ 1286724 w 1778688"/>
              <a:gd name="connsiteY137" fmla="*/ 8491 h 383935"/>
              <a:gd name="connsiteX138" fmla="*/ 1286724 w 1778688"/>
              <a:gd name="connsiteY138" fmla="*/ 295912 h 383935"/>
              <a:gd name="connsiteX139" fmla="*/ 1235377 w 1778688"/>
              <a:gd name="connsiteY139" fmla="*/ 295912 h 383935"/>
              <a:gd name="connsiteX140" fmla="*/ 93300 w 1778688"/>
              <a:gd name="connsiteY140" fmla="*/ 0 h 383935"/>
              <a:gd name="connsiteX141" fmla="*/ 93300 w 1778688"/>
              <a:gd name="connsiteY141" fmla="*/ 30 h 383935"/>
              <a:gd name="connsiteX142" fmla="*/ 109343 w 1778688"/>
              <a:gd name="connsiteY142" fmla="*/ 1359 h 383935"/>
              <a:gd name="connsiteX143" fmla="*/ 184225 w 1778688"/>
              <a:gd name="connsiteY143" fmla="*/ 71343 h 383935"/>
              <a:gd name="connsiteX144" fmla="*/ 185309 w 1778688"/>
              <a:gd name="connsiteY144" fmla="*/ 107978 h 383935"/>
              <a:gd name="connsiteX145" fmla="*/ 193382 w 1778688"/>
              <a:gd name="connsiteY145" fmla="*/ 111280 h 383935"/>
              <a:gd name="connsiteX146" fmla="*/ 201244 w 1778688"/>
              <a:gd name="connsiteY146" fmla="*/ 106930 h 383935"/>
              <a:gd name="connsiteX147" fmla="*/ 200134 w 1778688"/>
              <a:gd name="connsiteY147" fmla="*/ 92629 h 383935"/>
              <a:gd name="connsiteX148" fmla="*/ 293434 w 1778688"/>
              <a:gd name="connsiteY148" fmla="*/ 0 h 383935"/>
              <a:gd name="connsiteX149" fmla="*/ 293434 w 1778688"/>
              <a:gd name="connsiteY149" fmla="*/ 149 h 383935"/>
              <a:gd name="connsiteX150" fmla="*/ 308877 w 1778688"/>
              <a:gd name="connsiteY150" fmla="*/ 1431 h 383935"/>
              <a:gd name="connsiteX151" fmla="*/ 385423 w 1778688"/>
              <a:gd name="connsiteY151" fmla="*/ 108131 h 383935"/>
              <a:gd name="connsiteX152" fmla="*/ 277949 w 1778688"/>
              <a:gd name="connsiteY152" fmla="*/ 184126 h 383935"/>
              <a:gd name="connsiteX153" fmla="*/ 293344 w 1778688"/>
              <a:gd name="connsiteY153" fmla="*/ 147062 h 383935"/>
              <a:gd name="connsiteX154" fmla="*/ 324287 w 1778688"/>
              <a:gd name="connsiteY154" fmla="*/ 137591 h 383935"/>
              <a:gd name="connsiteX155" fmla="*/ 338544 w 1778688"/>
              <a:gd name="connsiteY155" fmla="*/ 62180 h 383935"/>
              <a:gd name="connsiteX156" fmla="*/ 262587 w 1778688"/>
              <a:gd name="connsiteY156" fmla="*/ 48025 h 383935"/>
              <a:gd name="connsiteX157" fmla="*/ 248329 w 1778688"/>
              <a:gd name="connsiteY157" fmla="*/ 123436 h 383935"/>
              <a:gd name="connsiteX158" fmla="*/ 193382 w 1778688"/>
              <a:gd name="connsiteY158" fmla="*/ 145602 h 383935"/>
              <a:gd name="connsiteX159" fmla="*/ 138524 w 1778688"/>
              <a:gd name="connsiteY159" fmla="*/ 123168 h 383935"/>
              <a:gd name="connsiteX160" fmla="*/ 148003 w 1778688"/>
              <a:gd name="connsiteY160" fmla="*/ 92731 h 383935"/>
              <a:gd name="connsiteX161" fmla="*/ 138468 w 1778688"/>
              <a:gd name="connsiteY161" fmla="*/ 62028 h 383935"/>
              <a:gd name="connsiteX162" fmla="*/ 62510 w 1778688"/>
              <a:gd name="connsiteY162" fmla="*/ 47873 h 383935"/>
              <a:gd name="connsiteX163" fmla="*/ 48253 w 1778688"/>
              <a:gd name="connsiteY163" fmla="*/ 123284 h 383935"/>
              <a:gd name="connsiteX164" fmla="*/ 124210 w 1778688"/>
              <a:gd name="connsiteY164" fmla="*/ 137439 h 383935"/>
              <a:gd name="connsiteX165" fmla="*/ 146657 w 1778688"/>
              <a:gd name="connsiteY165" fmla="*/ 191961 h 383935"/>
              <a:gd name="connsiteX166" fmla="*/ 124000 w 1778688"/>
              <a:gd name="connsiteY166" fmla="*/ 246424 h 383935"/>
              <a:gd name="connsiteX167" fmla="*/ 111996 w 1778688"/>
              <a:gd name="connsiteY167" fmla="*/ 240287 h 383935"/>
              <a:gd name="connsiteX168" fmla="*/ 93390 w 1778688"/>
              <a:gd name="connsiteY168" fmla="*/ 237009 h 383935"/>
              <a:gd name="connsiteX169" fmla="*/ 62447 w 1778688"/>
              <a:gd name="connsiteY169" fmla="*/ 246480 h 383935"/>
              <a:gd name="connsiteX170" fmla="*/ 48189 w 1778688"/>
              <a:gd name="connsiteY170" fmla="*/ 321891 h 383935"/>
              <a:gd name="connsiteX171" fmla="*/ 124147 w 1778688"/>
              <a:gd name="connsiteY171" fmla="*/ 336046 h 383935"/>
              <a:gd name="connsiteX172" fmla="*/ 138404 w 1778688"/>
              <a:gd name="connsiteY172" fmla="*/ 260635 h 383935"/>
              <a:gd name="connsiteX173" fmla="*/ 193382 w 1778688"/>
              <a:gd name="connsiteY173" fmla="*/ 238320 h 383935"/>
              <a:gd name="connsiteX174" fmla="*/ 248210 w 1778688"/>
              <a:gd name="connsiteY174" fmla="*/ 260754 h 383935"/>
              <a:gd name="connsiteX175" fmla="*/ 238757 w 1778688"/>
              <a:gd name="connsiteY175" fmla="*/ 291203 h 383935"/>
              <a:gd name="connsiteX176" fmla="*/ 193382 w 1778688"/>
              <a:gd name="connsiteY176" fmla="*/ 272642 h 383935"/>
              <a:gd name="connsiteX177" fmla="*/ 185519 w 1778688"/>
              <a:gd name="connsiteY177" fmla="*/ 276992 h 383935"/>
              <a:gd name="connsiteX178" fmla="*/ 185351 w 1778688"/>
              <a:gd name="connsiteY178" fmla="*/ 306526 h 383935"/>
              <a:gd name="connsiteX179" fmla="*/ 77998 w 1778688"/>
              <a:gd name="connsiteY179" fmla="*/ 382542 h 383935"/>
              <a:gd name="connsiteX180" fmla="*/ 1431 w 1778688"/>
              <a:gd name="connsiteY180" fmla="*/ 275961 h 383935"/>
              <a:gd name="connsiteX181" fmla="*/ 71780 w 1778688"/>
              <a:gd name="connsiteY181" fmla="*/ 201171 h 383935"/>
              <a:gd name="connsiteX182" fmla="*/ 108762 w 1778688"/>
              <a:gd name="connsiteY182" fmla="*/ 199946 h 383935"/>
              <a:gd name="connsiteX183" fmla="*/ 112086 w 1778688"/>
              <a:gd name="connsiteY183" fmla="*/ 191932 h 383935"/>
              <a:gd name="connsiteX184" fmla="*/ 107705 w 1778688"/>
              <a:gd name="connsiteY184" fmla="*/ 184155 h 383935"/>
              <a:gd name="connsiteX185" fmla="*/ 93300 w 1778688"/>
              <a:gd name="connsiteY185" fmla="*/ 185258 h 383935"/>
              <a:gd name="connsiteX186" fmla="*/ 0 w 1778688"/>
              <a:gd name="connsiteY186" fmla="*/ 92629 h 383935"/>
              <a:gd name="connsiteX187" fmla="*/ 93300 w 1778688"/>
              <a:gd name="connsiteY187" fmla="*/ 0 h 38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778688" h="383935">
                <a:moveTo>
                  <a:pt x="1758931" y="270064"/>
                </a:moveTo>
                <a:lnTo>
                  <a:pt x="1765112" y="270064"/>
                </a:lnTo>
                <a:lnTo>
                  <a:pt x="1768824" y="284017"/>
                </a:lnTo>
                <a:lnTo>
                  <a:pt x="1772493" y="270064"/>
                </a:lnTo>
                <a:lnTo>
                  <a:pt x="1778688" y="270064"/>
                </a:lnTo>
                <a:lnTo>
                  <a:pt x="1778688" y="290519"/>
                </a:lnTo>
                <a:lnTo>
                  <a:pt x="1774851" y="290519"/>
                </a:lnTo>
                <a:lnTo>
                  <a:pt x="1774851" y="274418"/>
                </a:lnTo>
                <a:lnTo>
                  <a:pt x="1770791" y="290519"/>
                </a:lnTo>
                <a:lnTo>
                  <a:pt x="1766815" y="290519"/>
                </a:lnTo>
                <a:lnTo>
                  <a:pt x="1762768" y="274418"/>
                </a:lnTo>
                <a:lnTo>
                  <a:pt x="1762768" y="290519"/>
                </a:lnTo>
                <a:lnTo>
                  <a:pt x="1758931" y="290519"/>
                </a:lnTo>
                <a:close/>
                <a:moveTo>
                  <a:pt x="1747095" y="269716"/>
                </a:moveTo>
                <a:cubicBezTo>
                  <a:pt x="1749662" y="269716"/>
                  <a:pt x="1751594" y="270278"/>
                  <a:pt x="1752892" y="271404"/>
                </a:cubicBezTo>
                <a:cubicBezTo>
                  <a:pt x="1754190" y="272529"/>
                  <a:pt x="1754871" y="274032"/>
                  <a:pt x="1754936" y="275911"/>
                </a:cubicBezTo>
                <a:lnTo>
                  <a:pt x="1750806" y="276092"/>
                </a:lnTo>
                <a:cubicBezTo>
                  <a:pt x="1750629" y="275041"/>
                  <a:pt x="1750250" y="274285"/>
                  <a:pt x="1749669" y="273825"/>
                </a:cubicBezTo>
                <a:cubicBezTo>
                  <a:pt x="1749088" y="273364"/>
                  <a:pt x="1748216" y="273134"/>
                  <a:pt x="1747053" y="273134"/>
                </a:cubicBezTo>
                <a:cubicBezTo>
                  <a:pt x="1745853" y="273134"/>
                  <a:pt x="1744914" y="273381"/>
                  <a:pt x="1744234" y="273874"/>
                </a:cubicBezTo>
                <a:cubicBezTo>
                  <a:pt x="1743797" y="274190"/>
                  <a:pt x="1743579" y="274613"/>
                  <a:pt x="1743579" y="275143"/>
                </a:cubicBezTo>
                <a:cubicBezTo>
                  <a:pt x="1743579" y="275627"/>
                  <a:pt x="1743783" y="276041"/>
                  <a:pt x="1744193" y="276385"/>
                </a:cubicBezTo>
                <a:cubicBezTo>
                  <a:pt x="1744714" y="276822"/>
                  <a:pt x="1745979" y="277278"/>
                  <a:pt x="1747988" y="277752"/>
                </a:cubicBezTo>
                <a:cubicBezTo>
                  <a:pt x="1749997" y="278227"/>
                  <a:pt x="1751483" y="278717"/>
                  <a:pt x="1752446" y="279224"/>
                </a:cubicBezTo>
                <a:cubicBezTo>
                  <a:pt x="1753408" y="279731"/>
                  <a:pt x="1754162" y="280424"/>
                  <a:pt x="1754706" y="281303"/>
                </a:cubicBezTo>
                <a:cubicBezTo>
                  <a:pt x="1755250" y="282182"/>
                  <a:pt x="1755522" y="283268"/>
                  <a:pt x="1755522" y="284561"/>
                </a:cubicBezTo>
                <a:cubicBezTo>
                  <a:pt x="1755522" y="285733"/>
                  <a:pt x="1755197" y="286831"/>
                  <a:pt x="1754545" y="287854"/>
                </a:cubicBezTo>
                <a:cubicBezTo>
                  <a:pt x="1753894" y="288877"/>
                  <a:pt x="1752973" y="289638"/>
                  <a:pt x="1751783" y="290135"/>
                </a:cubicBezTo>
                <a:cubicBezTo>
                  <a:pt x="1750592" y="290633"/>
                  <a:pt x="1749109" y="290882"/>
                  <a:pt x="1747332" y="290882"/>
                </a:cubicBezTo>
                <a:cubicBezTo>
                  <a:pt x="1744746" y="290882"/>
                  <a:pt x="1742760" y="290284"/>
                  <a:pt x="1741374" y="289089"/>
                </a:cubicBezTo>
                <a:cubicBezTo>
                  <a:pt x="1739988" y="287894"/>
                  <a:pt x="1739160" y="286152"/>
                  <a:pt x="1738891" y="283864"/>
                </a:cubicBezTo>
                <a:lnTo>
                  <a:pt x="1742909" y="283473"/>
                </a:lnTo>
                <a:cubicBezTo>
                  <a:pt x="1743151" y="284822"/>
                  <a:pt x="1743641" y="285812"/>
                  <a:pt x="1744381" y="286445"/>
                </a:cubicBezTo>
                <a:cubicBezTo>
                  <a:pt x="1745120" y="287077"/>
                  <a:pt x="1746118" y="287394"/>
                  <a:pt x="1747374" y="287394"/>
                </a:cubicBezTo>
                <a:cubicBezTo>
                  <a:pt x="1748704" y="287394"/>
                  <a:pt x="1749706" y="287112"/>
                  <a:pt x="1750381" y="286550"/>
                </a:cubicBezTo>
                <a:cubicBezTo>
                  <a:pt x="1751055" y="285987"/>
                  <a:pt x="1751392" y="285329"/>
                  <a:pt x="1751392" y="284575"/>
                </a:cubicBezTo>
                <a:cubicBezTo>
                  <a:pt x="1751392" y="284092"/>
                  <a:pt x="1751250" y="283680"/>
                  <a:pt x="1750967" y="283340"/>
                </a:cubicBezTo>
                <a:cubicBezTo>
                  <a:pt x="1750683" y="283001"/>
                  <a:pt x="1750188" y="282706"/>
                  <a:pt x="1749481" y="282454"/>
                </a:cubicBezTo>
                <a:cubicBezTo>
                  <a:pt x="1748997" y="282287"/>
                  <a:pt x="1747895" y="281989"/>
                  <a:pt x="1746174" y="281561"/>
                </a:cubicBezTo>
                <a:cubicBezTo>
                  <a:pt x="1743960" y="281013"/>
                  <a:pt x="1742407" y="280338"/>
                  <a:pt x="1741514" y="279538"/>
                </a:cubicBezTo>
                <a:cubicBezTo>
                  <a:pt x="1740258" y="278413"/>
                  <a:pt x="1739630" y="277041"/>
                  <a:pt x="1739630" y="275422"/>
                </a:cubicBezTo>
                <a:cubicBezTo>
                  <a:pt x="1739630" y="274380"/>
                  <a:pt x="1739925" y="273406"/>
                  <a:pt x="1740516" y="272499"/>
                </a:cubicBezTo>
                <a:cubicBezTo>
                  <a:pt x="1741107" y="271592"/>
                  <a:pt x="1741958" y="270902"/>
                  <a:pt x="1743069" y="270427"/>
                </a:cubicBezTo>
                <a:cubicBezTo>
                  <a:pt x="1744181" y="269953"/>
                  <a:pt x="1745523" y="269716"/>
                  <a:pt x="1747095" y="269716"/>
                </a:cubicBezTo>
                <a:close/>
                <a:moveTo>
                  <a:pt x="1415465" y="138005"/>
                </a:moveTo>
                <a:cubicBezTo>
                  <a:pt x="1384735" y="138005"/>
                  <a:pt x="1361597" y="163478"/>
                  <a:pt x="1361597" y="195655"/>
                </a:cubicBezTo>
                <a:cubicBezTo>
                  <a:pt x="1361597" y="227833"/>
                  <a:pt x="1384345" y="253724"/>
                  <a:pt x="1415465" y="253724"/>
                </a:cubicBezTo>
                <a:cubicBezTo>
                  <a:pt x="1446585" y="253724"/>
                  <a:pt x="1468492" y="227714"/>
                  <a:pt x="1468492" y="195655"/>
                </a:cubicBezTo>
                <a:cubicBezTo>
                  <a:pt x="1468492" y="163478"/>
                  <a:pt x="1446195" y="138005"/>
                  <a:pt x="1415465" y="138005"/>
                </a:cubicBezTo>
                <a:close/>
                <a:moveTo>
                  <a:pt x="743459" y="138005"/>
                </a:moveTo>
                <a:cubicBezTo>
                  <a:pt x="712729" y="138005"/>
                  <a:pt x="689592" y="163478"/>
                  <a:pt x="689592" y="195655"/>
                </a:cubicBezTo>
                <a:cubicBezTo>
                  <a:pt x="689592" y="227833"/>
                  <a:pt x="712309" y="253724"/>
                  <a:pt x="743459" y="253724"/>
                </a:cubicBezTo>
                <a:cubicBezTo>
                  <a:pt x="774609" y="253724"/>
                  <a:pt x="796486" y="227714"/>
                  <a:pt x="796486" y="195655"/>
                </a:cubicBezTo>
                <a:cubicBezTo>
                  <a:pt x="796486" y="163478"/>
                  <a:pt x="774189" y="138005"/>
                  <a:pt x="743459" y="138005"/>
                </a:cubicBezTo>
                <a:close/>
                <a:moveTo>
                  <a:pt x="262734" y="137498"/>
                </a:moveTo>
                <a:cubicBezTo>
                  <a:pt x="266461" y="140037"/>
                  <a:pt x="270492" y="142099"/>
                  <a:pt x="274738" y="143636"/>
                </a:cubicBezTo>
                <a:cubicBezTo>
                  <a:pt x="280701" y="145793"/>
                  <a:pt x="286997" y="146901"/>
                  <a:pt x="293344" y="146913"/>
                </a:cubicBezTo>
                <a:lnTo>
                  <a:pt x="274648" y="191961"/>
                </a:lnTo>
                <a:lnTo>
                  <a:pt x="279029" y="199767"/>
                </a:lnTo>
                <a:cubicBezTo>
                  <a:pt x="283795" y="199022"/>
                  <a:pt x="288612" y="198653"/>
                  <a:pt x="293434" y="198665"/>
                </a:cubicBezTo>
                <a:cubicBezTo>
                  <a:pt x="298614" y="198665"/>
                  <a:pt x="303784" y="199094"/>
                  <a:pt x="308889" y="199946"/>
                </a:cubicBezTo>
                <a:cubicBezTo>
                  <a:pt x="359707" y="208419"/>
                  <a:pt x="393982" y="256188"/>
                  <a:pt x="385447" y="306637"/>
                </a:cubicBezTo>
                <a:cubicBezTo>
                  <a:pt x="376912" y="357087"/>
                  <a:pt x="328797" y="391117"/>
                  <a:pt x="277979" y="382641"/>
                </a:cubicBezTo>
                <a:cubicBezTo>
                  <a:pt x="227164" y="374168"/>
                  <a:pt x="192890" y="326400"/>
                  <a:pt x="201424" y="275950"/>
                </a:cubicBezTo>
                <a:lnTo>
                  <a:pt x="238756" y="291204"/>
                </a:lnTo>
                <a:cubicBezTo>
                  <a:pt x="238738" y="302165"/>
                  <a:pt x="242064" y="312876"/>
                  <a:pt x="248297" y="321925"/>
                </a:cubicBezTo>
                <a:cubicBezTo>
                  <a:pt x="265336" y="346656"/>
                  <a:pt x="299343" y="352993"/>
                  <a:pt x="324254" y="336080"/>
                </a:cubicBezTo>
                <a:cubicBezTo>
                  <a:pt x="349165" y="319163"/>
                  <a:pt x="355548" y="285400"/>
                  <a:pt x="338512" y="260669"/>
                </a:cubicBezTo>
                <a:cubicBezTo>
                  <a:pt x="321472" y="235937"/>
                  <a:pt x="287465" y="229600"/>
                  <a:pt x="262554" y="246514"/>
                </a:cubicBezTo>
                <a:lnTo>
                  <a:pt x="240077" y="191961"/>
                </a:lnTo>
                <a:close/>
                <a:moveTo>
                  <a:pt x="1113718" y="133387"/>
                </a:moveTo>
                <a:cubicBezTo>
                  <a:pt x="1088090" y="133387"/>
                  <a:pt x="1070414" y="150935"/>
                  <a:pt x="1064532" y="176439"/>
                </a:cubicBezTo>
                <a:lnTo>
                  <a:pt x="1161733" y="176439"/>
                </a:lnTo>
                <a:cubicBezTo>
                  <a:pt x="1155732" y="148015"/>
                  <a:pt x="1137726" y="133387"/>
                  <a:pt x="1113718" y="133387"/>
                </a:cubicBezTo>
                <a:close/>
                <a:moveTo>
                  <a:pt x="1651972" y="89947"/>
                </a:moveTo>
                <a:cubicBezTo>
                  <a:pt x="1698547" y="89947"/>
                  <a:pt x="1728556" y="122542"/>
                  <a:pt x="1728556" y="174770"/>
                </a:cubicBezTo>
                <a:lnTo>
                  <a:pt x="1728556" y="295911"/>
                </a:lnTo>
                <a:lnTo>
                  <a:pt x="1677210" y="295911"/>
                </a:lnTo>
                <a:lnTo>
                  <a:pt x="1677210" y="182278"/>
                </a:lnTo>
                <a:cubicBezTo>
                  <a:pt x="1677210" y="155136"/>
                  <a:pt x="1661215" y="138005"/>
                  <a:pt x="1636397" y="138005"/>
                </a:cubicBezTo>
                <a:cubicBezTo>
                  <a:pt x="1610739" y="138005"/>
                  <a:pt x="1595163" y="155136"/>
                  <a:pt x="1595163" y="182278"/>
                </a:cubicBezTo>
                <a:lnTo>
                  <a:pt x="1595163" y="295911"/>
                </a:lnTo>
                <a:lnTo>
                  <a:pt x="1543817" y="295911"/>
                </a:lnTo>
                <a:lnTo>
                  <a:pt x="1543817" y="95787"/>
                </a:lnTo>
                <a:lnTo>
                  <a:pt x="1595163" y="95787"/>
                </a:lnTo>
                <a:lnTo>
                  <a:pt x="1595163" y="115421"/>
                </a:lnTo>
                <a:cubicBezTo>
                  <a:pt x="1607768" y="99154"/>
                  <a:pt x="1627124" y="89947"/>
                  <a:pt x="1651972" y="89947"/>
                </a:cubicBezTo>
                <a:close/>
                <a:moveTo>
                  <a:pt x="1415045" y="89947"/>
                </a:moveTo>
                <a:cubicBezTo>
                  <a:pt x="1473534" y="89947"/>
                  <a:pt x="1520259" y="137617"/>
                  <a:pt x="1520259" y="196073"/>
                </a:cubicBezTo>
                <a:cubicBezTo>
                  <a:pt x="1520640" y="254075"/>
                  <a:pt x="1473591" y="301399"/>
                  <a:pt x="1415168" y="301781"/>
                </a:cubicBezTo>
                <a:cubicBezTo>
                  <a:pt x="1415129" y="301781"/>
                  <a:pt x="1415087" y="301781"/>
                  <a:pt x="1415045" y="301781"/>
                </a:cubicBezTo>
                <a:cubicBezTo>
                  <a:pt x="1356436" y="301781"/>
                  <a:pt x="1310281" y="254141"/>
                  <a:pt x="1310281" y="196073"/>
                </a:cubicBezTo>
                <a:cubicBezTo>
                  <a:pt x="1310281" y="137588"/>
                  <a:pt x="1356556" y="89947"/>
                  <a:pt x="1415045" y="89947"/>
                </a:cubicBezTo>
                <a:close/>
                <a:moveTo>
                  <a:pt x="1112908" y="89947"/>
                </a:moveTo>
                <a:cubicBezTo>
                  <a:pt x="1170976" y="89947"/>
                  <a:pt x="1214340" y="134221"/>
                  <a:pt x="1214340" y="191902"/>
                </a:cubicBezTo>
                <a:cubicBezTo>
                  <a:pt x="1214458" y="197500"/>
                  <a:pt x="1214034" y="203098"/>
                  <a:pt x="1213080" y="208616"/>
                </a:cubicBezTo>
                <a:lnTo>
                  <a:pt x="1063692" y="208616"/>
                </a:lnTo>
                <a:cubicBezTo>
                  <a:pt x="1068734" y="236592"/>
                  <a:pt x="1090190" y="256643"/>
                  <a:pt x="1121340" y="256643"/>
                </a:cubicBezTo>
                <a:cubicBezTo>
                  <a:pt x="1139928" y="256625"/>
                  <a:pt x="1157709" y="249094"/>
                  <a:pt x="1170586" y="235788"/>
                </a:cubicBezTo>
                <a:lnTo>
                  <a:pt x="1197085" y="270468"/>
                </a:lnTo>
                <a:cubicBezTo>
                  <a:pt x="1182080" y="288016"/>
                  <a:pt x="1153331" y="301811"/>
                  <a:pt x="1119240" y="301811"/>
                </a:cubicBezTo>
                <a:cubicBezTo>
                  <a:pt x="1056520" y="301781"/>
                  <a:pt x="1011085" y="254141"/>
                  <a:pt x="1011085" y="196073"/>
                </a:cubicBezTo>
                <a:cubicBezTo>
                  <a:pt x="1011085" y="137588"/>
                  <a:pt x="1054839" y="89947"/>
                  <a:pt x="1112908" y="89947"/>
                </a:cubicBezTo>
                <a:close/>
                <a:moveTo>
                  <a:pt x="735056" y="89947"/>
                </a:moveTo>
                <a:cubicBezTo>
                  <a:pt x="761555" y="89947"/>
                  <a:pt x="782171" y="99571"/>
                  <a:pt x="796486" y="115838"/>
                </a:cubicBezTo>
                <a:lnTo>
                  <a:pt x="796486" y="95787"/>
                </a:lnTo>
                <a:lnTo>
                  <a:pt x="848253" y="95787"/>
                </a:lnTo>
                <a:lnTo>
                  <a:pt x="848253" y="295911"/>
                </a:lnTo>
                <a:lnTo>
                  <a:pt x="796486" y="295911"/>
                </a:lnTo>
                <a:lnTo>
                  <a:pt x="796486" y="274192"/>
                </a:lnTo>
                <a:cubicBezTo>
                  <a:pt x="781274" y="292151"/>
                  <a:pt x="758686" y="302296"/>
                  <a:pt x="735056" y="301781"/>
                </a:cubicBezTo>
                <a:cubicBezTo>
                  <a:pt x="681609" y="301781"/>
                  <a:pt x="638245" y="258312"/>
                  <a:pt x="638245" y="196073"/>
                </a:cubicBezTo>
                <a:cubicBezTo>
                  <a:pt x="638245" y="135502"/>
                  <a:pt x="679088" y="89947"/>
                  <a:pt x="735056" y="89947"/>
                </a:cubicBezTo>
                <a:close/>
                <a:moveTo>
                  <a:pt x="556409" y="89947"/>
                </a:moveTo>
                <a:cubicBezTo>
                  <a:pt x="590920" y="89947"/>
                  <a:pt x="618259" y="101656"/>
                  <a:pt x="635935" y="120039"/>
                </a:cubicBezTo>
                <a:lnTo>
                  <a:pt x="606465" y="156387"/>
                </a:lnTo>
                <a:cubicBezTo>
                  <a:pt x="593831" y="144044"/>
                  <a:pt x="576644" y="137397"/>
                  <a:pt x="558930" y="138005"/>
                </a:cubicBezTo>
                <a:cubicBezTo>
                  <a:pt x="525259" y="138005"/>
                  <a:pt x="502542" y="163478"/>
                  <a:pt x="502542" y="195655"/>
                </a:cubicBezTo>
                <a:cubicBezTo>
                  <a:pt x="502542" y="227833"/>
                  <a:pt x="525679" y="253724"/>
                  <a:pt x="558510" y="253724"/>
                </a:cubicBezTo>
                <a:cubicBezTo>
                  <a:pt x="577074" y="254248"/>
                  <a:pt x="595031" y="247142"/>
                  <a:pt x="608146" y="234089"/>
                </a:cubicBezTo>
                <a:lnTo>
                  <a:pt x="634254" y="271689"/>
                </a:lnTo>
                <a:cubicBezTo>
                  <a:pt x="618259" y="289238"/>
                  <a:pt x="589239" y="301781"/>
                  <a:pt x="557249" y="301781"/>
                </a:cubicBezTo>
                <a:cubicBezTo>
                  <a:pt x="498859" y="301962"/>
                  <a:pt x="451378" y="255118"/>
                  <a:pt x="451192" y="197148"/>
                </a:cubicBezTo>
                <a:cubicBezTo>
                  <a:pt x="451192" y="196791"/>
                  <a:pt x="451192" y="196430"/>
                  <a:pt x="451195" y="196073"/>
                </a:cubicBezTo>
                <a:cubicBezTo>
                  <a:pt x="451195" y="137588"/>
                  <a:pt x="497500" y="89947"/>
                  <a:pt x="556409" y="89947"/>
                </a:cubicBezTo>
                <a:close/>
                <a:moveTo>
                  <a:pt x="985847" y="89888"/>
                </a:moveTo>
                <a:cubicBezTo>
                  <a:pt x="997485" y="89483"/>
                  <a:pt x="1008916" y="93022"/>
                  <a:pt x="1018258" y="99928"/>
                </a:cubicBezTo>
                <a:lnTo>
                  <a:pt x="996771" y="148373"/>
                </a:lnTo>
                <a:cubicBezTo>
                  <a:pt x="989142" y="142652"/>
                  <a:pt x="979833" y="139575"/>
                  <a:pt x="970272" y="139613"/>
                </a:cubicBezTo>
                <a:cubicBezTo>
                  <a:pt x="949656" y="139613"/>
                  <a:pt x="936602" y="156745"/>
                  <a:pt x="936602" y="183887"/>
                </a:cubicBezTo>
                <a:lnTo>
                  <a:pt x="936602" y="295911"/>
                </a:lnTo>
                <a:lnTo>
                  <a:pt x="885285" y="295911"/>
                </a:lnTo>
                <a:lnTo>
                  <a:pt x="885285" y="95787"/>
                </a:lnTo>
                <a:lnTo>
                  <a:pt x="936602" y="95787"/>
                </a:lnTo>
                <a:lnTo>
                  <a:pt x="936602" y="117477"/>
                </a:lnTo>
                <a:cubicBezTo>
                  <a:pt x="947975" y="100763"/>
                  <a:pt x="964811" y="89888"/>
                  <a:pt x="985847" y="89888"/>
                </a:cubicBezTo>
                <a:close/>
                <a:moveTo>
                  <a:pt x="1235377" y="8491"/>
                </a:moveTo>
                <a:lnTo>
                  <a:pt x="1286724" y="8491"/>
                </a:lnTo>
                <a:lnTo>
                  <a:pt x="1286724" y="295912"/>
                </a:lnTo>
                <a:lnTo>
                  <a:pt x="1235377" y="295912"/>
                </a:lnTo>
                <a:close/>
                <a:moveTo>
                  <a:pt x="93300" y="0"/>
                </a:moveTo>
                <a:lnTo>
                  <a:pt x="93300" y="30"/>
                </a:lnTo>
                <a:cubicBezTo>
                  <a:pt x="98678" y="12"/>
                  <a:pt x="104044" y="456"/>
                  <a:pt x="109343" y="1359"/>
                </a:cubicBezTo>
                <a:cubicBezTo>
                  <a:pt x="147325" y="7825"/>
                  <a:pt x="175950" y="36300"/>
                  <a:pt x="184225" y="71343"/>
                </a:cubicBezTo>
                <a:lnTo>
                  <a:pt x="185309" y="107978"/>
                </a:lnTo>
                <a:lnTo>
                  <a:pt x="193382" y="111280"/>
                </a:lnTo>
                <a:lnTo>
                  <a:pt x="201244" y="106930"/>
                </a:lnTo>
                <a:cubicBezTo>
                  <a:pt x="200494" y="102199"/>
                  <a:pt x="200122" y="97417"/>
                  <a:pt x="200134" y="92629"/>
                </a:cubicBezTo>
                <a:cubicBezTo>
                  <a:pt x="200134" y="41470"/>
                  <a:pt x="241904" y="0"/>
                  <a:pt x="293434" y="0"/>
                </a:cubicBezTo>
                <a:lnTo>
                  <a:pt x="293434" y="149"/>
                </a:lnTo>
                <a:cubicBezTo>
                  <a:pt x="298608" y="149"/>
                  <a:pt x="303772" y="578"/>
                  <a:pt x="308877" y="1431"/>
                </a:cubicBezTo>
                <a:cubicBezTo>
                  <a:pt x="359692" y="9910"/>
                  <a:pt x="393963" y="57681"/>
                  <a:pt x="385423" y="108131"/>
                </a:cubicBezTo>
                <a:cubicBezTo>
                  <a:pt x="376882" y="158580"/>
                  <a:pt x="328764" y="192605"/>
                  <a:pt x="277949" y="184126"/>
                </a:cubicBezTo>
                <a:lnTo>
                  <a:pt x="293344" y="147062"/>
                </a:lnTo>
                <a:cubicBezTo>
                  <a:pt x="304384" y="147080"/>
                  <a:pt x="315173" y="143779"/>
                  <a:pt x="324287" y="137591"/>
                </a:cubicBezTo>
                <a:cubicBezTo>
                  <a:pt x="349198" y="120674"/>
                  <a:pt x="355581" y="86912"/>
                  <a:pt x="338544" y="62180"/>
                </a:cubicBezTo>
                <a:cubicBezTo>
                  <a:pt x="321505" y="37448"/>
                  <a:pt x="287498" y="31111"/>
                  <a:pt x="262587" y="48025"/>
                </a:cubicBezTo>
                <a:cubicBezTo>
                  <a:pt x="237676" y="64942"/>
                  <a:pt x="231293" y="98704"/>
                  <a:pt x="248329" y="123436"/>
                </a:cubicBezTo>
                <a:lnTo>
                  <a:pt x="193382" y="145602"/>
                </a:lnTo>
                <a:lnTo>
                  <a:pt x="138524" y="123168"/>
                </a:lnTo>
                <a:lnTo>
                  <a:pt x="148003" y="92731"/>
                </a:lnTo>
                <a:lnTo>
                  <a:pt x="138468" y="62028"/>
                </a:lnTo>
                <a:cubicBezTo>
                  <a:pt x="121428" y="37296"/>
                  <a:pt x="87421" y="30959"/>
                  <a:pt x="62510" y="47873"/>
                </a:cubicBezTo>
                <a:cubicBezTo>
                  <a:pt x="37599" y="64790"/>
                  <a:pt x="31216" y="98552"/>
                  <a:pt x="48253" y="123284"/>
                </a:cubicBezTo>
                <a:cubicBezTo>
                  <a:pt x="65292" y="148016"/>
                  <a:pt x="99299" y="154353"/>
                  <a:pt x="124210" y="137439"/>
                </a:cubicBezTo>
                <a:lnTo>
                  <a:pt x="146657" y="191961"/>
                </a:lnTo>
                <a:lnTo>
                  <a:pt x="124000" y="246424"/>
                </a:lnTo>
                <a:cubicBezTo>
                  <a:pt x="120279" y="243880"/>
                  <a:pt x="116242" y="241818"/>
                  <a:pt x="111996" y="240287"/>
                </a:cubicBezTo>
                <a:cubicBezTo>
                  <a:pt x="106033" y="238130"/>
                  <a:pt x="99737" y="237018"/>
                  <a:pt x="93390" y="237009"/>
                </a:cubicBezTo>
                <a:cubicBezTo>
                  <a:pt x="82349" y="236991"/>
                  <a:pt x="71561" y="240292"/>
                  <a:pt x="62447" y="246480"/>
                </a:cubicBezTo>
                <a:cubicBezTo>
                  <a:pt x="37536" y="263397"/>
                  <a:pt x="31153" y="297159"/>
                  <a:pt x="48189" y="321891"/>
                </a:cubicBezTo>
                <a:cubicBezTo>
                  <a:pt x="65229" y="346623"/>
                  <a:pt x="99236" y="352960"/>
                  <a:pt x="124147" y="336046"/>
                </a:cubicBezTo>
                <a:cubicBezTo>
                  <a:pt x="149058" y="319129"/>
                  <a:pt x="155441" y="285367"/>
                  <a:pt x="138404" y="260635"/>
                </a:cubicBezTo>
                <a:lnTo>
                  <a:pt x="193382" y="238320"/>
                </a:lnTo>
                <a:lnTo>
                  <a:pt x="248210" y="260754"/>
                </a:lnTo>
                <a:cubicBezTo>
                  <a:pt x="242079" y="269746"/>
                  <a:pt x="238790" y="280347"/>
                  <a:pt x="238757" y="291203"/>
                </a:cubicBezTo>
                <a:lnTo>
                  <a:pt x="193382" y="272642"/>
                </a:lnTo>
                <a:lnTo>
                  <a:pt x="185519" y="276992"/>
                </a:lnTo>
                <a:cubicBezTo>
                  <a:pt x="187056" y="286782"/>
                  <a:pt x="186999" y="296754"/>
                  <a:pt x="185351" y="306526"/>
                </a:cubicBezTo>
                <a:cubicBezTo>
                  <a:pt x="176850" y="356949"/>
                  <a:pt x="128786" y="390983"/>
                  <a:pt x="77998" y="382542"/>
                </a:cubicBezTo>
                <a:cubicBezTo>
                  <a:pt x="27209" y="374102"/>
                  <a:pt x="-7071" y="326384"/>
                  <a:pt x="1431" y="275961"/>
                </a:cubicBezTo>
                <a:cubicBezTo>
                  <a:pt x="7808" y="238144"/>
                  <a:pt x="36437" y="209546"/>
                  <a:pt x="71780" y="201171"/>
                </a:cubicBezTo>
                <a:lnTo>
                  <a:pt x="108762" y="199946"/>
                </a:lnTo>
                <a:lnTo>
                  <a:pt x="112086" y="191932"/>
                </a:lnTo>
                <a:lnTo>
                  <a:pt x="107705" y="184155"/>
                </a:lnTo>
                <a:cubicBezTo>
                  <a:pt x="102939" y="184900"/>
                  <a:pt x="98123" y="185270"/>
                  <a:pt x="93300" y="185258"/>
                </a:cubicBezTo>
                <a:cubicBezTo>
                  <a:pt x="41770" y="185258"/>
                  <a:pt x="0" y="143788"/>
                  <a:pt x="0" y="92629"/>
                </a:cubicBezTo>
                <a:cubicBezTo>
                  <a:pt x="0" y="41470"/>
                  <a:pt x="41770" y="0"/>
                  <a:pt x="93300" y="0"/>
                </a:cubicBezTo>
                <a:close/>
              </a:path>
            </a:pathLst>
          </a:custGeom>
          <a:solidFill>
            <a:schemeClr val="bg1"/>
          </a:solidFill>
        </p:spPr>
        <p:txBody>
          <a:bodyPr wrap="square">
            <a:noAutofit/>
          </a:bodyPr>
          <a:lstStyle>
            <a:lvl1pPr>
              <a:defRPr sz="100">
                <a:solidFill>
                  <a:schemeClr val="bg1">
                    <a:alpha val="0"/>
                  </a:schemeClr>
                </a:solidFill>
              </a:defRPr>
            </a:lvl1pPr>
          </a:lstStyle>
          <a:p>
            <a:pPr lvl="0"/>
            <a:r>
              <a:rPr lang="en-US"/>
              <a:t>Click to edit Master text styles</a:t>
            </a:r>
          </a:p>
        </p:txBody>
      </p:sp>
    </p:spTree>
    <p:extLst>
      <p:ext uri="{BB962C8B-B14F-4D97-AF65-F5344CB8AC3E}">
        <p14:creationId xmlns:p14="http://schemas.microsoft.com/office/powerpoint/2010/main" val="2972307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143500"/>
            <a:ext cx="5638800" cy="228600"/>
          </a:xfr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385850"/>
            <a:ext cx="5638800" cy="224536"/>
          </a:xfrm>
        </p:spPr>
        <p:txBody>
          <a:bodyPr vert="horz" lIns="0" tIns="0" rIns="0" bIns="0" rtlCol="0">
            <a:noAutofit/>
          </a:bodyPr>
          <a:lstStyle>
            <a:lvl1pPr>
              <a:defRPr lang="en-US" sz="1800" i="0" dirty="0">
                <a:latin typeface="+mn-lt"/>
              </a:defRPr>
            </a:lvl1pPr>
          </a:lstStyle>
          <a:p>
            <a:pPr lvl="0"/>
            <a:r>
              <a:rPr lang="en-US" dirty="0"/>
              <a:t>Click to add date</a:t>
            </a:r>
          </a:p>
        </p:txBody>
      </p:sp>
      <p:pic>
        <p:nvPicPr>
          <p:cNvPr id="12" name="Graphic 11">
            <a:extLst>
              <a:ext uri="{FF2B5EF4-FFF2-40B4-BE49-F238E27FC236}">
                <a16:creationId xmlns:a16="http://schemas.microsoft.com/office/drawing/2014/main" id="{26A3A06A-A1A0-D902-0E0F-70ABAC4575B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6156161"/>
            <a:ext cx="1785575" cy="384339"/>
          </a:xfrm>
          <a:prstGeom prst="rect">
            <a:avLst/>
          </a:prstGeom>
        </p:spPr>
      </p:pic>
    </p:spTree>
    <p:extLst>
      <p:ext uri="{BB962C8B-B14F-4D97-AF65-F5344CB8AC3E}">
        <p14:creationId xmlns:p14="http://schemas.microsoft.com/office/powerpoint/2010/main" val="6568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4" name="Text Placeholder 3">
            <a:extLst>
              <a:ext uri="{FF2B5EF4-FFF2-40B4-BE49-F238E27FC236}">
                <a16:creationId xmlns:a16="http://schemas.microsoft.com/office/drawing/2014/main" id="{00097867-8AC3-DDD4-59B3-00B7ED7B0081}"/>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996744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42"/>
            </p:custDataLst>
            <p:extLst>
              <p:ext uri="{D42A27DB-BD31-4B8C-83A1-F6EECF244321}">
                <p14:modId xmlns:p14="http://schemas.microsoft.com/office/powerpoint/2010/main" val="3610293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404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Box 25">
            <a:extLst>
              <a:ext uri="{FF2B5EF4-FFF2-40B4-BE49-F238E27FC236}">
                <a16:creationId xmlns:a16="http://schemas.microsoft.com/office/drawing/2014/main" id="{ED412B9A-E70E-6449-8DEF-3E56B12E4331}"/>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5" name="Graphic 4">
            <a:extLst>
              <a:ext uri="{FF2B5EF4-FFF2-40B4-BE49-F238E27FC236}">
                <a16:creationId xmlns:a16="http://schemas.microsoft.com/office/drawing/2014/main" id="{57BC2DB0-7F5A-4142-B10E-47FE768EB3DC}"/>
              </a:ext>
            </a:extLst>
          </p:cNvPr>
          <p:cNvPicPr>
            <a:picLocks noChangeAspect="1"/>
          </p:cNvPicPr>
          <p:nvPr/>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457199" y="6181343"/>
            <a:ext cx="365760" cy="365760"/>
          </a:xfrm>
          <a:prstGeom prst="rect">
            <a:avLst/>
          </a:prstGeom>
        </p:spPr>
      </p:pic>
    </p:spTree>
    <p:extLst>
      <p:ext uri="{BB962C8B-B14F-4D97-AF65-F5344CB8AC3E}">
        <p14:creationId xmlns:p14="http://schemas.microsoft.com/office/powerpoint/2010/main" val="64630813"/>
      </p:ext>
    </p:extLst>
  </p:cSld>
  <p:clrMap bg1="lt1" tx1="dk1" bg2="lt2" tx2="dk2" accent1="accent1" accent2="accent2" accent3="accent3" accent4="accent4" accent5="accent5" accent6="accent6" hlink="hlink" folHlink="folHlink"/>
  <p:sldLayoutIdLst>
    <p:sldLayoutId id="2147483697" r:id="rId1"/>
    <p:sldLayoutId id="2147483662" r:id="rId2"/>
    <p:sldLayoutId id="2147483663" r:id="rId3"/>
    <p:sldLayoutId id="2147483699" r:id="rId4"/>
    <p:sldLayoutId id="2147483700" r:id="rId5"/>
    <p:sldLayoutId id="2147483701"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704" r:id="rId15"/>
    <p:sldLayoutId id="2147483694" r:id="rId16"/>
    <p:sldLayoutId id="2147483695" r:id="rId17"/>
    <p:sldLayoutId id="2147483696" r:id="rId18"/>
    <p:sldLayoutId id="2147483672" r:id="rId19"/>
    <p:sldLayoutId id="2147483673" r:id="rId20"/>
    <p:sldLayoutId id="2147483674" r:id="rId21"/>
    <p:sldLayoutId id="2147483675" r:id="rId22"/>
    <p:sldLayoutId id="2147483676" r:id="rId23"/>
    <p:sldLayoutId id="2147483677" r:id="rId24"/>
    <p:sldLayoutId id="2147483678" r:id="rId25"/>
    <p:sldLayoutId id="2147483703"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3" r:id="rId38"/>
    <p:sldLayoutId id="2147483692" r:id="rId39"/>
    <p:sldLayoutId id="2147483690" r:id="rId40"/>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Clr>
          <a:schemeClr val="tx2"/>
        </a:buClr>
        <a:buFont typeface="Elevance Sans" pitchFamily="2" charset="0"/>
        <a:buNone/>
        <a:tabLst/>
        <a:defRPr sz="2000" b="0" i="0" kern="1200">
          <a:solidFill>
            <a:schemeClr val="tx2"/>
          </a:solidFill>
          <a:latin typeface="Elevance Sans Medium" pitchFamily="2" charset="0"/>
          <a:ea typeface="+mn-ea"/>
          <a:cs typeface="+mn-cs"/>
        </a:defRPr>
      </a:lvl1pPr>
      <a:lvl2pPr marL="0" indent="0" algn="l" defTabSz="914400" rtl="0" eaLnBrk="1" latinLnBrk="0" hangingPunct="1">
        <a:lnSpc>
          <a:spcPct val="100000"/>
        </a:lnSpc>
        <a:spcBef>
          <a:spcPts val="2000"/>
        </a:spcBef>
        <a:buClr>
          <a:schemeClr val="tx2"/>
        </a:buClr>
        <a:buFont typeface="Elevance Sans"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3pPr>
      <a:lvl4pPr marL="457200" indent="-231775"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5pPr>
      <a:lvl6pPr marL="859536" indent="-173736" algn="l" defTabSz="914400" rtl="0" eaLnBrk="1" latinLnBrk="0" hangingPunct="1">
        <a:lnSpc>
          <a:spcPct val="100000"/>
        </a:lnSpc>
        <a:spcBef>
          <a:spcPts val="2000"/>
        </a:spcBef>
        <a:buClr>
          <a:schemeClr val="tx2"/>
        </a:buClr>
        <a:buFont typeface="Elevance Sans" pitchFamily="2" charset="0"/>
        <a:buChar char="•"/>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0A0F69B-72CA-54A1-0AA6-BD3C0E24AB3C}"/>
              </a:ext>
            </a:extLst>
          </p:cNvPr>
          <p:cNvSpPr>
            <a:spLocks noGrp="1"/>
          </p:cNvSpPr>
          <p:nvPr>
            <p:ph type="ctrTitle"/>
          </p:nvPr>
        </p:nvSpPr>
        <p:spPr/>
        <p:txBody>
          <a:bodyPr/>
          <a:lstStyle/>
          <a:p>
            <a:r>
              <a:rPr lang="en-US" dirty="0"/>
              <a:t>High-Risk Newborn Pregnancy Prediction Model- Iteration 2</a:t>
            </a:r>
          </a:p>
        </p:txBody>
      </p:sp>
    </p:spTree>
    <p:extLst>
      <p:ext uri="{BB962C8B-B14F-4D97-AF65-F5344CB8AC3E}">
        <p14:creationId xmlns:p14="http://schemas.microsoft.com/office/powerpoint/2010/main" val="3128460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A8934-5492-C524-AB84-775BDBDC9360}"/>
              </a:ext>
            </a:extLst>
          </p:cNvPr>
          <p:cNvSpPr>
            <a:spLocks noGrp="1"/>
          </p:cNvSpPr>
          <p:nvPr>
            <p:ph type="title"/>
          </p:nvPr>
        </p:nvSpPr>
        <p:spPr/>
        <p:txBody>
          <a:bodyPr/>
          <a:lstStyle/>
          <a:p>
            <a:r>
              <a:rPr lang="en-US" dirty="0"/>
              <a:t>IHAN303 Example</a:t>
            </a:r>
          </a:p>
        </p:txBody>
      </p:sp>
      <p:graphicFrame>
        <p:nvGraphicFramePr>
          <p:cNvPr id="9" name="Content Placeholder 8">
            <a:extLst>
              <a:ext uri="{FF2B5EF4-FFF2-40B4-BE49-F238E27FC236}">
                <a16:creationId xmlns:a16="http://schemas.microsoft.com/office/drawing/2014/main" id="{FBEB696E-15D7-00F6-53A8-93992E6F2334}"/>
              </a:ext>
            </a:extLst>
          </p:cNvPr>
          <p:cNvGraphicFramePr>
            <a:graphicFrameLocks noGrp="1"/>
          </p:cNvGraphicFramePr>
          <p:nvPr>
            <p:ph idx="1"/>
            <p:extLst>
              <p:ext uri="{D42A27DB-BD31-4B8C-83A1-F6EECF244321}">
                <p14:modId xmlns:p14="http://schemas.microsoft.com/office/powerpoint/2010/main" val="980322036"/>
              </p:ext>
            </p:extLst>
          </p:nvPr>
        </p:nvGraphicFramePr>
        <p:xfrm>
          <a:off x="457200" y="1207008"/>
          <a:ext cx="11511279" cy="4867436"/>
        </p:xfrm>
        <a:graphic>
          <a:graphicData uri="http://schemas.openxmlformats.org/drawingml/2006/table">
            <a:tbl>
              <a:tblPr/>
              <a:tblGrid>
                <a:gridCol w="2148038">
                  <a:extLst>
                    <a:ext uri="{9D8B030D-6E8A-4147-A177-3AD203B41FA5}">
                      <a16:colId xmlns:a16="http://schemas.microsoft.com/office/drawing/2014/main" val="3627643841"/>
                    </a:ext>
                  </a:extLst>
                </a:gridCol>
                <a:gridCol w="352499">
                  <a:extLst>
                    <a:ext uri="{9D8B030D-6E8A-4147-A177-3AD203B41FA5}">
                      <a16:colId xmlns:a16="http://schemas.microsoft.com/office/drawing/2014/main" val="171570030"/>
                    </a:ext>
                  </a:extLst>
                </a:gridCol>
                <a:gridCol w="528747">
                  <a:extLst>
                    <a:ext uri="{9D8B030D-6E8A-4147-A177-3AD203B41FA5}">
                      <a16:colId xmlns:a16="http://schemas.microsoft.com/office/drawing/2014/main" val="263887590"/>
                    </a:ext>
                  </a:extLst>
                </a:gridCol>
                <a:gridCol w="616873">
                  <a:extLst>
                    <a:ext uri="{9D8B030D-6E8A-4147-A177-3AD203B41FA5}">
                      <a16:colId xmlns:a16="http://schemas.microsoft.com/office/drawing/2014/main" val="891255718"/>
                    </a:ext>
                  </a:extLst>
                </a:gridCol>
                <a:gridCol w="749059">
                  <a:extLst>
                    <a:ext uri="{9D8B030D-6E8A-4147-A177-3AD203B41FA5}">
                      <a16:colId xmlns:a16="http://schemas.microsoft.com/office/drawing/2014/main" val="1873926321"/>
                    </a:ext>
                  </a:extLst>
                </a:gridCol>
                <a:gridCol w="528747">
                  <a:extLst>
                    <a:ext uri="{9D8B030D-6E8A-4147-A177-3AD203B41FA5}">
                      <a16:colId xmlns:a16="http://schemas.microsoft.com/office/drawing/2014/main" val="2136753204"/>
                    </a:ext>
                  </a:extLst>
                </a:gridCol>
                <a:gridCol w="572810">
                  <a:extLst>
                    <a:ext uri="{9D8B030D-6E8A-4147-A177-3AD203B41FA5}">
                      <a16:colId xmlns:a16="http://schemas.microsoft.com/office/drawing/2014/main" val="2598943253"/>
                    </a:ext>
                  </a:extLst>
                </a:gridCol>
                <a:gridCol w="837184">
                  <a:extLst>
                    <a:ext uri="{9D8B030D-6E8A-4147-A177-3AD203B41FA5}">
                      <a16:colId xmlns:a16="http://schemas.microsoft.com/office/drawing/2014/main" val="2578902169"/>
                    </a:ext>
                  </a:extLst>
                </a:gridCol>
                <a:gridCol w="5177322">
                  <a:extLst>
                    <a:ext uri="{9D8B030D-6E8A-4147-A177-3AD203B41FA5}">
                      <a16:colId xmlns:a16="http://schemas.microsoft.com/office/drawing/2014/main" val="3168889327"/>
                    </a:ext>
                  </a:extLst>
                </a:gridCol>
              </a:tblGrid>
              <a:tr h="190460">
                <a:tc>
                  <a:txBody>
                    <a:bodyPr/>
                    <a:lstStyle/>
                    <a:p>
                      <a:pPr algn="l" fontAlgn="b"/>
                      <a:r>
                        <a:rPr lang="en-US" sz="900" b="0" i="0" u="none" strike="noStrike" dirty="0" err="1">
                          <a:solidFill>
                            <a:srgbClr val="000000"/>
                          </a:solidFill>
                          <a:effectLst/>
                          <a:highlight>
                            <a:srgbClr val="FFFF00"/>
                          </a:highlight>
                          <a:latin typeface="Elevance Sans Medium" pitchFamily="50" charset="0"/>
                        </a:rPr>
                        <a:t>mcid</a:t>
                      </a:r>
                      <a:endParaRPr lang="en-US" sz="900" b="0" i="0" u="none" strike="noStrike" dirty="0">
                        <a:solidFill>
                          <a:srgbClr val="000000"/>
                        </a:solidFill>
                        <a:effectLst/>
                        <a:highlight>
                          <a:srgbClr val="FFFF00"/>
                        </a:highlight>
                        <a:latin typeface="Elevance Sans Medium" pitchFamily="50" charset="0"/>
                      </a:endParaRP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y_obs</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y_score</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dos</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ontribCoef</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type</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value</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ode</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d_des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815426326"/>
                  </a:ext>
                </a:extLst>
              </a:tr>
              <a:tr h="296395">
                <a:tc>
                  <a:txBody>
                    <a:bodyPr/>
                    <a:lstStyle/>
                    <a:p>
                      <a:pPr algn="l" fontAlgn="b"/>
                      <a:r>
                        <a:rPr lang="en-US" sz="900" b="0" i="0" u="none" strike="noStrike" dirty="0">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889625847</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7569.27</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12_months</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12_months</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0800629"/>
                  </a:ext>
                </a:extLst>
              </a:tr>
              <a:tr h="190460">
                <a:tc>
                  <a:txBody>
                    <a:bodyPr/>
                    <a:lstStyle/>
                    <a:p>
                      <a:pPr algn="l" fontAlgn="b"/>
                      <a:r>
                        <a:rPr lang="en-US" sz="900" b="0" i="0" u="none" strike="noStrike" dirty="0">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9/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4186757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1435280"/>
                  </a:ext>
                </a:extLst>
              </a:tr>
              <a:tr h="190460">
                <a:tc>
                  <a:txBody>
                    <a:bodyPr/>
                    <a:lstStyle/>
                    <a:p>
                      <a:pPr algn="l" fontAlgn="b"/>
                      <a:r>
                        <a:rPr lang="en-US" sz="900" b="0" i="0" u="none" strike="noStrike" dirty="0">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6/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55440673</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4350194"/>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31/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3460423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00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win pregnancy, monochorionic/diamniotic, second trimester</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6978260"/>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30/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3176894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00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win pregnancy, monochorionic/diamniotic, second trimester</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5702758"/>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8/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06166266</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7892443"/>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7/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0532508</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6992236"/>
                  </a:ext>
                </a:extLst>
              </a:tr>
              <a:tr h="761841">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3/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94061606</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o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992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moderate level of medical decision making. When using total time on the date of the encounter for code selection, 35 minutes must be met or exceeded.</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0689615"/>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8/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83522603</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00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win pregnancy, monochorionic/diamniotic, second trimester</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9688512"/>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7/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82860835</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00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win pregnancy, monochorionic/diamniotic, second trimester</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4673009"/>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6/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0.07678835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00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win pregnancy, monochorionic/diamniotic, second trimester</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7569622"/>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19/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0.071408965</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3633702"/>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15/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711209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78708"/>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2/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70201017</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4259155"/>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8/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6078134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8745475"/>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12/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58952633</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9424013"/>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19/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561785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00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win pregnancy, monochorionic/diamniotic, second trimester</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3338949"/>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15/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55951897</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00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win pregnancy, monochorionic/diamniotic, second trimester</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09794549"/>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2/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55228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003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Twin pregnancy, monochorionic/diamniotic, second trimester</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0211756"/>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5/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5516885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92027"/>
                  </a:ext>
                </a:extLst>
              </a:tr>
              <a:tr h="190460">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6236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1/2022</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5191369</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Maternal care for other known or suspected poor fetal growth, second trimester, fetus 1</a:t>
                      </a:r>
                    </a:p>
                  </a:txBody>
                  <a:tcPr marL="6484" marR="6484" marT="64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9979271"/>
                  </a:ext>
                </a:extLst>
              </a:tr>
            </a:tbl>
          </a:graphicData>
        </a:graphic>
      </p:graphicFrame>
    </p:spTree>
    <p:extLst>
      <p:ext uri="{BB962C8B-B14F-4D97-AF65-F5344CB8AC3E}">
        <p14:creationId xmlns:p14="http://schemas.microsoft.com/office/powerpoint/2010/main" val="1204629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AB2FF-FCDD-4FA4-A5BA-4DBAD45813F4}"/>
              </a:ext>
            </a:extLst>
          </p:cNvPr>
          <p:cNvSpPr>
            <a:spLocks noGrp="1"/>
          </p:cNvSpPr>
          <p:nvPr>
            <p:ph type="title"/>
          </p:nvPr>
        </p:nvSpPr>
        <p:spPr/>
        <p:txBody>
          <a:bodyPr/>
          <a:lstStyle/>
          <a:p>
            <a:r>
              <a:rPr lang="en-US" dirty="0"/>
              <a:t>IHAN3041 Example</a:t>
            </a:r>
          </a:p>
        </p:txBody>
      </p:sp>
      <p:graphicFrame>
        <p:nvGraphicFramePr>
          <p:cNvPr id="5" name="Content Placeholder 4">
            <a:extLst>
              <a:ext uri="{FF2B5EF4-FFF2-40B4-BE49-F238E27FC236}">
                <a16:creationId xmlns:a16="http://schemas.microsoft.com/office/drawing/2014/main" id="{4B093BF0-6AC7-C381-EC08-802A99295C83}"/>
              </a:ext>
            </a:extLst>
          </p:cNvPr>
          <p:cNvGraphicFramePr>
            <a:graphicFrameLocks noGrp="1"/>
          </p:cNvGraphicFramePr>
          <p:nvPr>
            <p:ph idx="1"/>
            <p:extLst>
              <p:ext uri="{D42A27DB-BD31-4B8C-83A1-F6EECF244321}">
                <p14:modId xmlns:p14="http://schemas.microsoft.com/office/powerpoint/2010/main" val="2107681350"/>
              </p:ext>
            </p:extLst>
          </p:nvPr>
        </p:nvGraphicFramePr>
        <p:xfrm>
          <a:off x="609600" y="1207008"/>
          <a:ext cx="10698480" cy="5618419"/>
        </p:xfrm>
        <a:graphic>
          <a:graphicData uri="http://schemas.openxmlformats.org/drawingml/2006/table">
            <a:tbl>
              <a:tblPr/>
              <a:tblGrid>
                <a:gridCol w="2120125">
                  <a:extLst>
                    <a:ext uri="{9D8B030D-6E8A-4147-A177-3AD203B41FA5}">
                      <a16:colId xmlns:a16="http://schemas.microsoft.com/office/drawing/2014/main" val="3714290000"/>
                    </a:ext>
                  </a:extLst>
                </a:gridCol>
                <a:gridCol w="391407">
                  <a:extLst>
                    <a:ext uri="{9D8B030D-6E8A-4147-A177-3AD203B41FA5}">
                      <a16:colId xmlns:a16="http://schemas.microsoft.com/office/drawing/2014/main" val="3321439398"/>
                    </a:ext>
                  </a:extLst>
                </a:gridCol>
                <a:gridCol w="521877">
                  <a:extLst>
                    <a:ext uri="{9D8B030D-6E8A-4147-A177-3AD203B41FA5}">
                      <a16:colId xmlns:a16="http://schemas.microsoft.com/office/drawing/2014/main" val="3022159"/>
                    </a:ext>
                  </a:extLst>
                </a:gridCol>
                <a:gridCol w="608857">
                  <a:extLst>
                    <a:ext uri="{9D8B030D-6E8A-4147-A177-3AD203B41FA5}">
                      <a16:colId xmlns:a16="http://schemas.microsoft.com/office/drawing/2014/main" val="2836731704"/>
                    </a:ext>
                  </a:extLst>
                </a:gridCol>
                <a:gridCol w="739326">
                  <a:extLst>
                    <a:ext uri="{9D8B030D-6E8A-4147-A177-3AD203B41FA5}">
                      <a16:colId xmlns:a16="http://schemas.microsoft.com/office/drawing/2014/main" val="2632396674"/>
                    </a:ext>
                  </a:extLst>
                </a:gridCol>
                <a:gridCol w="521877">
                  <a:extLst>
                    <a:ext uri="{9D8B030D-6E8A-4147-A177-3AD203B41FA5}">
                      <a16:colId xmlns:a16="http://schemas.microsoft.com/office/drawing/2014/main" val="3461165577"/>
                    </a:ext>
                  </a:extLst>
                </a:gridCol>
                <a:gridCol w="445771">
                  <a:extLst>
                    <a:ext uri="{9D8B030D-6E8A-4147-A177-3AD203B41FA5}">
                      <a16:colId xmlns:a16="http://schemas.microsoft.com/office/drawing/2014/main" val="679949237"/>
                    </a:ext>
                  </a:extLst>
                </a:gridCol>
                <a:gridCol w="1228586">
                  <a:extLst>
                    <a:ext uri="{9D8B030D-6E8A-4147-A177-3AD203B41FA5}">
                      <a16:colId xmlns:a16="http://schemas.microsoft.com/office/drawing/2014/main" val="2336385939"/>
                    </a:ext>
                  </a:extLst>
                </a:gridCol>
                <a:gridCol w="4120654">
                  <a:extLst>
                    <a:ext uri="{9D8B030D-6E8A-4147-A177-3AD203B41FA5}">
                      <a16:colId xmlns:a16="http://schemas.microsoft.com/office/drawing/2014/main" val="243437591"/>
                    </a:ext>
                  </a:extLst>
                </a:gridCol>
              </a:tblGrid>
              <a:tr h="106075">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mcid</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y_ob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y_score</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do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contribCoef</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type</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value</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code</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Aptos Narrow" panose="020B0004020202020204" pitchFamily="34" charset="0"/>
                        </a:rPr>
                        <a:t>cd_des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715118945"/>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2.09642863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87188</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aid_6_month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aid_6_month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1949634"/>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91869974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7603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aid_3_month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aid_3_month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4248206"/>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175984979</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ltpl_gest</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ltpl_gest</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2580324"/>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842176318</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high_risk_proc_cd_cnt</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high_risk_proc_cd_cnt</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7621353"/>
                  </a:ext>
                </a:extLst>
              </a:tr>
              <a:tr h="503832">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23/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49488133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ro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dirty="0">
                          <a:solidFill>
                            <a:srgbClr val="000000"/>
                          </a:solidFill>
                          <a:effectLst/>
                          <a:latin typeface="Aptos Narrow" panose="020B0004020202020204" pitchFamily="34" charset="0"/>
                        </a:rPr>
                        <a:t>9923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ubsequent hospital inpatient or observation care, per day, for the evaluation and management of a patient, which requires a medically appropriate history and/or examination and moderate level of medical decision making. When using total time on the date of the encounter for code selection, 35 minutes must be met or exceeded.</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0726495"/>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31510466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87569</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aid_12_month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aid_12_month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2677556"/>
                  </a:ext>
                </a:extLst>
              </a:tr>
              <a:tr h="204184">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31/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297702819</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65920</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aternal care for other known or suspected poor fetal growth, second trimester, not applicable or unspecified</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7046495"/>
                  </a:ext>
                </a:extLst>
              </a:tr>
              <a:tr h="204184">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30/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22236262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65920</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aternal care for other known or suspected poor fetal growth, second trimester, not applicable or unspecified</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1357166"/>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135645196</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growth_restrictio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growth_restrictio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9023927"/>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8/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126256019</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Z3A2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23 weeks gestation of pregnancy</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6953413"/>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101956636</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oppler_flow_studie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oppler_flow_studie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9032642"/>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5/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75524218</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Z3A2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23 weeks gestation of pregnancy</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24271456"/>
                  </a:ext>
                </a:extLst>
              </a:tr>
              <a:tr h="204184">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1/16/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688210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ro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7471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agnetic resonance (eg, proton) imaging, fetal, including placental and maternal pelvic imaging when performed; single or first gestatio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4452792"/>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5664915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high_risk_diag_cnt</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high_risk_diag_cnt</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6378976"/>
                  </a:ext>
                </a:extLst>
              </a:tr>
              <a:tr h="204184">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1/23/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55100687</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65920</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aternal care for other known or suspected poor fetal growth, second trimester, not applicable or unspecified</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1800737"/>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35324074</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transvaginal_sonogram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transvaginal_sonograms</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3466082"/>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28/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243434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28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Abnormal ultrasonic finding on antenatal screening of mother</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2107071"/>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12/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2227581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004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Twin pregnancy, dichorionic/diamniotic, second trimester</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9031087"/>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1968809</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afi_index</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afi_index</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5122583"/>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13231854</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cancer_hist_prsnl</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cancer_hist_prsnl</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8241650"/>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10944257</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cancer_hist_famly</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cancer_hist_famly</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4183555"/>
                  </a:ext>
                </a:extLst>
              </a:tr>
              <a:tr h="204184">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1/16/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1046617</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ro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76825</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Echocardiography, fetal, cardiovascular system, real time with image documentation (2D), with or without M-mode recordin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7329825"/>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nan</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903682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stati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compl_smkng_alchl</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compl_smkng_alchl</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7494781"/>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28/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5065948</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689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aternal care for other specified fetal problems, second trimester, fetus 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2990869"/>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0/18/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4470639</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Z3A16</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16 weeks gestation of pregnancy</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2350565"/>
                  </a:ext>
                </a:extLst>
              </a:tr>
              <a:tr h="403949">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23/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3895306</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pro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99253</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Inpatient or observation consultation for a new or established patient, which requires a medically appropriate history and/or examination and low level of medical decision making. When using total time on the date of the encounter for code selection, 45 minutes must be met or exceeded.</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947545"/>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28/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37789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4389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ther placental disorders, second trimester</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7342202"/>
                  </a:ext>
                </a:extLst>
              </a:tr>
              <a:tr h="204184">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0/18/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3745764</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5EXX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aternal care for other (suspected) fetal abnormality and damage, fetal genitourinary anomalies, fetus 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5686046"/>
                  </a:ext>
                </a:extLst>
              </a:tr>
              <a:tr h="204184">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0/24/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3669738</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5EXX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Maternal care for other (suspected) fetal abnormality and damage, fetal genitourinary anomalies, fetus 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5284720"/>
                  </a:ext>
                </a:extLst>
              </a:tr>
              <a:tr h="106075">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31/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2952525</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003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Twin pregnancy, monochorionic/diamniotic, second trimester</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9915523"/>
                  </a:ext>
                </a:extLst>
              </a:tr>
              <a:tr h="204184">
                <a:tc>
                  <a:txBody>
                    <a:bodyPr/>
                    <a:lstStyle/>
                    <a:p>
                      <a:pPr algn="l" fontAlgn="b"/>
                      <a:r>
                        <a:rPr lang="en-US" sz="800" b="0" i="0" u="none" strike="noStrike">
                          <a:solidFill>
                            <a:srgbClr val="000000"/>
                          </a:solidFill>
                          <a:effectLst/>
                          <a:latin typeface="Aptos Narrow" panose="020B0004020202020204" pitchFamily="34" charset="0"/>
                        </a:rPr>
                        <a:t>F1CDFFA19BE2F3658AC34BFE2AE23B7C</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99701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12/8/2022</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Aptos Narrow" panose="020B0004020202020204" pitchFamily="34" charset="0"/>
                        </a:rPr>
                        <a:t>0.002844185</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diag</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 </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Aptos Narrow" panose="020B0004020202020204" pitchFamily="34" charset="0"/>
                        </a:rPr>
                        <a:t>O36592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Aptos Narrow" panose="020B0004020202020204" pitchFamily="34" charset="0"/>
                        </a:rPr>
                        <a:t>Maternal care for other known or suspected poor fetal growth, second trimester, fetus 1</a:t>
                      </a:r>
                    </a:p>
                  </a:txBody>
                  <a:tcPr marL="4046" marR="4046" marT="40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5266815"/>
                  </a:ext>
                </a:extLst>
              </a:tr>
            </a:tbl>
          </a:graphicData>
        </a:graphic>
      </p:graphicFrame>
    </p:spTree>
    <p:extLst>
      <p:ext uri="{BB962C8B-B14F-4D97-AF65-F5344CB8AC3E}">
        <p14:creationId xmlns:p14="http://schemas.microsoft.com/office/powerpoint/2010/main" val="3150749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18C344C6-AE3E-2676-1D8D-78D0A926AC6D}"/>
              </a:ext>
            </a:extLst>
          </p:cNvPr>
          <p:cNvSpPr>
            <a:spLocks noGrp="1"/>
          </p:cNvSpPr>
          <p:nvPr>
            <p:ph type="title"/>
          </p:nvPr>
        </p:nvSpPr>
        <p:spPr>
          <a:xfrm>
            <a:off x="457200" y="384048"/>
            <a:ext cx="11274552" cy="822960"/>
          </a:xfrm>
        </p:spPr>
        <p:txBody>
          <a:bodyPr/>
          <a:lstStyle/>
          <a:p>
            <a:r>
              <a:rPr lang="en-US" dirty="0"/>
              <a:t>IHAN4041 example (GPI AND RVNU CODES AS TOP FEATURES)</a:t>
            </a:r>
          </a:p>
        </p:txBody>
      </p:sp>
      <p:sp>
        <p:nvSpPr>
          <p:cNvPr id="21" name="Text Placeholder 3">
            <a:extLst>
              <a:ext uri="{FF2B5EF4-FFF2-40B4-BE49-F238E27FC236}">
                <a16:creationId xmlns:a16="http://schemas.microsoft.com/office/drawing/2014/main" id="{6A5EA215-2A20-F2DE-E930-9CA7705BE8BB}"/>
              </a:ext>
            </a:extLst>
          </p:cNvPr>
          <p:cNvSpPr>
            <a:spLocks noGrp="1"/>
          </p:cNvSpPr>
          <p:nvPr>
            <p:ph type="body" sz="half" idx="2"/>
          </p:nvPr>
        </p:nvSpPr>
        <p:spPr>
          <a:xfrm>
            <a:off x="1461052" y="6271591"/>
            <a:ext cx="9321248" cy="300988"/>
          </a:xfrm>
        </p:spPr>
        <p:txBody>
          <a:bodyPr/>
          <a:lstStyle/>
          <a:p>
            <a:endParaRPr lang="en-US"/>
          </a:p>
        </p:txBody>
      </p:sp>
      <p:graphicFrame>
        <p:nvGraphicFramePr>
          <p:cNvPr id="9" name="Content Placeholder 8">
            <a:extLst>
              <a:ext uri="{FF2B5EF4-FFF2-40B4-BE49-F238E27FC236}">
                <a16:creationId xmlns:a16="http://schemas.microsoft.com/office/drawing/2014/main" id="{0DE0D173-90EC-C33B-62F9-A5D7640527C7}"/>
              </a:ext>
            </a:extLst>
          </p:cNvPr>
          <p:cNvGraphicFramePr>
            <a:graphicFrameLocks noGrp="1"/>
          </p:cNvGraphicFramePr>
          <p:nvPr>
            <p:ph idx="1"/>
          </p:nvPr>
        </p:nvGraphicFramePr>
        <p:xfrm>
          <a:off x="640238" y="1391920"/>
          <a:ext cx="10926767" cy="5232083"/>
        </p:xfrm>
        <a:graphic>
          <a:graphicData uri="http://schemas.openxmlformats.org/drawingml/2006/table">
            <a:tbl>
              <a:tblPr/>
              <a:tblGrid>
                <a:gridCol w="2186808">
                  <a:extLst>
                    <a:ext uri="{9D8B030D-6E8A-4147-A177-3AD203B41FA5}">
                      <a16:colId xmlns:a16="http://schemas.microsoft.com/office/drawing/2014/main" val="94006418"/>
                    </a:ext>
                  </a:extLst>
                </a:gridCol>
                <a:gridCol w="385668">
                  <a:extLst>
                    <a:ext uri="{9D8B030D-6E8A-4147-A177-3AD203B41FA5}">
                      <a16:colId xmlns:a16="http://schemas.microsoft.com/office/drawing/2014/main" val="3458937581"/>
                    </a:ext>
                  </a:extLst>
                </a:gridCol>
                <a:gridCol w="570920">
                  <a:extLst>
                    <a:ext uri="{9D8B030D-6E8A-4147-A177-3AD203B41FA5}">
                      <a16:colId xmlns:a16="http://schemas.microsoft.com/office/drawing/2014/main" val="3929168468"/>
                    </a:ext>
                  </a:extLst>
                </a:gridCol>
                <a:gridCol w="615543">
                  <a:extLst>
                    <a:ext uri="{9D8B030D-6E8A-4147-A177-3AD203B41FA5}">
                      <a16:colId xmlns:a16="http://schemas.microsoft.com/office/drawing/2014/main" val="825801083"/>
                    </a:ext>
                  </a:extLst>
                </a:gridCol>
                <a:gridCol w="753468">
                  <a:extLst>
                    <a:ext uri="{9D8B030D-6E8A-4147-A177-3AD203B41FA5}">
                      <a16:colId xmlns:a16="http://schemas.microsoft.com/office/drawing/2014/main" val="617203977"/>
                    </a:ext>
                  </a:extLst>
                </a:gridCol>
                <a:gridCol w="494884">
                  <a:extLst>
                    <a:ext uri="{9D8B030D-6E8A-4147-A177-3AD203B41FA5}">
                      <a16:colId xmlns:a16="http://schemas.microsoft.com/office/drawing/2014/main" val="3785176853"/>
                    </a:ext>
                  </a:extLst>
                </a:gridCol>
                <a:gridCol w="449221">
                  <a:extLst>
                    <a:ext uri="{9D8B030D-6E8A-4147-A177-3AD203B41FA5}">
                      <a16:colId xmlns:a16="http://schemas.microsoft.com/office/drawing/2014/main" val="1459884383"/>
                    </a:ext>
                  </a:extLst>
                </a:gridCol>
                <a:gridCol w="1270011">
                  <a:extLst>
                    <a:ext uri="{9D8B030D-6E8A-4147-A177-3AD203B41FA5}">
                      <a16:colId xmlns:a16="http://schemas.microsoft.com/office/drawing/2014/main" val="4228602352"/>
                    </a:ext>
                  </a:extLst>
                </a:gridCol>
                <a:gridCol w="4200244">
                  <a:extLst>
                    <a:ext uri="{9D8B030D-6E8A-4147-A177-3AD203B41FA5}">
                      <a16:colId xmlns:a16="http://schemas.microsoft.com/office/drawing/2014/main" val="2341255109"/>
                    </a:ext>
                  </a:extLst>
                </a:gridCol>
              </a:tblGrid>
              <a:tr h="149085">
                <a:tc>
                  <a:txBody>
                    <a:bodyPr/>
                    <a:lstStyle/>
                    <a:p>
                      <a:pPr algn="l" fontAlgn="b"/>
                      <a:r>
                        <a:rPr lang="en-US" sz="900" b="0" i="0" u="none" strike="noStrike">
                          <a:solidFill>
                            <a:srgbClr val="000000"/>
                          </a:solidFill>
                          <a:effectLst/>
                          <a:highlight>
                            <a:srgbClr val="FFFF00"/>
                          </a:highlight>
                          <a:latin typeface="Elevance Sans Medium" pitchFamily="50" charset="0"/>
                        </a:rPr>
                        <a:t>mcid</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y_ob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y_score</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do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ontribCoef</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type</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value</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ode</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d_des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729258004"/>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9/17/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860718429</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gpi</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64</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NALGESICS - NonNarco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480882"/>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17552418</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blood_presr</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blood_presr</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3392205"/>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08261868</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natomical_fetal_survey</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natomical_fetal_survey</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1374190"/>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81413865</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st_test</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st_test</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1987066"/>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61093517</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bpp_profile</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bpp_profile</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8847088"/>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4748749</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um_outpatient_visit</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um_outpatient_visit</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6257631"/>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3154535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t_test</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t_test</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0778804"/>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7668799</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ancer_hist_famly</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ancer_hist_famly</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6995715"/>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7003883</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um_emergency_visit</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um_emergency_visit</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4609405"/>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4985754</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fi_index</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fi_index</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5802654"/>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3541727</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rvnu</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45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ncillary Service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8210366"/>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1283908</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fetal_echocardiography</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fetal_echocardiography</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2210852"/>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0673437</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o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690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Blood typing, serologic; Rh (D)</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0913093"/>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8733395</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ompl_smkng_alchl</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ompl_smkng_alchl</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5494189"/>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8198909</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ancer_hist_prsnl</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ancer_hist_prsnl</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0428234"/>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7237017</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gest_diabete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gest_diabete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6065374"/>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5310465</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o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690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Blood typing, serologic; ABO</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1235359"/>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410531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Z3A0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Less than 8 weeks gestation of pregnancy</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7933473"/>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31197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600.9</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9_month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9_month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857631"/>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269888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rvnu</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0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ncillary Service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4069260"/>
                  </a:ext>
                </a:extLst>
              </a:tr>
              <a:tr h="621006">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2227414</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o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0053</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omprehensive metabolic panel This panel must include the following: Albumin (82040) Bilirubin, total (82247) Calcium, total (82310) Carbon dioxide (bicarbonate) (82374) Chloride (82435) Creatinine (82565) Glucose (82947) Phosphatase, alkaline (84075) Potassium (84132) Protein, total (84155) Sodium (84295) Transferase, alanine amino (ALT) (SGPT) (84460) Transferase, aspartate amino (AST) (SGOT) (84450) Urea nitrogen (BUN) (8452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2865264"/>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1793328</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91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menorrhea, unspecified</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5105257"/>
                  </a:ext>
                </a:extLst>
              </a:tr>
              <a:tr h="26706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1734667</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o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99284</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Emergency department visit for the evaluation and management of a patient, which requires a medically appropriate history and/or examination and moderate level of medical decision making</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6268111"/>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1464983</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ransvaginal_sonogram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ransvaginal_sonograms</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4809883"/>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8/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137366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o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76817</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Ultrasound, pregnant uterus, real time with image documentation, transvaginal</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916603"/>
                  </a:ext>
                </a:extLst>
              </a:tr>
              <a:tr h="149085">
                <a:tc>
                  <a:txBody>
                    <a:bodyPr/>
                    <a:lstStyle/>
                    <a:p>
                      <a:pPr algn="l" fontAlgn="b"/>
                      <a:r>
                        <a:rPr lang="en-US" sz="900" b="0" i="0" u="none" strike="noStrike">
                          <a:solidFill>
                            <a:srgbClr val="000000"/>
                          </a:solidFill>
                          <a:effectLst/>
                          <a:latin typeface="Elevance Sans Medium" pitchFamily="50" charset="0"/>
                        </a:rPr>
                        <a:t>CD64DCCE1448DFBD01787342748B8B6C</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90036</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6/22/2022</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01210284</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I10</a:t>
                      </a:r>
                      <a:endParaRPr lang="en-US" sz="900" b="0" i="0" u="none" strike="noStrike">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Essential (primary) hypertension</a:t>
                      </a:r>
                      <a:endParaRPr lang="en-US" sz="900" b="0" i="0" u="none" strike="noStrike" dirty="0">
                        <a:effectLst/>
                        <a:latin typeface="Elevance Sans Medium" pitchFamily="50" charset="0"/>
                      </a:endParaRPr>
                    </a:p>
                  </a:txBody>
                  <a:tcPr marL="5012" marR="5012" marT="50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3182778"/>
                  </a:ext>
                </a:extLst>
              </a:tr>
            </a:tbl>
          </a:graphicData>
        </a:graphic>
      </p:graphicFrame>
    </p:spTree>
    <p:extLst>
      <p:ext uri="{BB962C8B-B14F-4D97-AF65-F5344CB8AC3E}">
        <p14:creationId xmlns:p14="http://schemas.microsoft.com/office/powerpoint/2010/main" val="3670066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3E0A24-F0A3-F04C-BD7C-42987DA04792}"/>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7754502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34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BF5DD-3273-B21A-A7E6-DB76A6C99587}"/>
              </a:ext>
            </a:extLst>
          </p:cNvPr>
          <p:cNvSpPr>
            <a:spLocks noGrp="1"/>
          </p:cNvSpPr>
          <p:nvPr>
            <p:ph type="title"/>
          </p:nvPr>
        </p:nvSpPr>
        <p:spPr/>
        <p:txBody>
          <a:bodyPr/>
          <a:lstStyle/>
          <a:p>
            <a:r>
              <a:rPr lang="en-US" dirty="0"/>
              <a:t>Modelling Data</a:t>
            </a:r>
          </a:p>
        </p:txBody>
      </p:sp>
      <p:sp>
        <p:nvSpPr>
          <p:cNvPr id="3" name="Content Placeholder 2">
            <a:extLst>
              <a:ext uri="{FF2B5EF4-FFF2-40B4-BE49-F238E27FC236}">
                <a16:creationId xmlns:a16="http://schemas.microsoft.com/office/drawing/2014/main" id="{90900C59-9F1F-5E61-73F7-B65740A46FFA}"/>
              </a:ext>
            </a:extLst>
          </p:cNvPr>
          <p:cNvSpPr>
            <a:spLocks noGrp="1"/>
          </p:cNvSpPr>
          <p:nvPr>
            <p:ph idx="1"/>
          </p:nvPr>
        </p:nvSpPr>
        <p:spPr>
          <a:xfrm>
            <a:off x="457200" y="1207008"/>
            <a:ext cx="11292840" cy="4800092"/>
          </a:xfrm>
        </p:spPr>
        <p:txBody>
          <a:bodyPr/>
          <a:lstStyle/>
          <a:p>
            <a:pPr marL="342900" indent="-342900">
              <a:buFont typeface="Arial" panose="020B0604020202020204" pitchFamily="34" charset="0"/>
              <a:buChar char="•"/>
            </a:pPr>
            <a:r>
              <a:rPr lang="en-US" sz="1600" dirty="0">
                <a:latin typeface="+mj-lt"/>
              </a:rPr>
              <a:t>The model utilizes input features derived from data over the past 24 months, counting back from the delivery date.</a:t>
            </a:r>
          </a:p>
          <a:p>
            <a:pPr marL="571500" lvl="2" indent="-342900">
              <a:buFont typeface="Arial" panose="020B0604020202020204" pitchFamily="34" charset="0"/>
              <a:buChar char="•"/>
            </a:pPr>
            <a:r>
              <a:rPr lang="en-US" sz="1600" dirty="0">
                <a:latin typeface="+mj-lt"/>
              </a:rPr>
              <a:t>4 medical codes: </a:t>
            </a:r>
            <a:r>
              <a:rPr lang="en-US" sz="1600" dirty="0" err="1">
                <a:latin typeface="+mj-lt"/>
              </a:rPr>
              <a:t>diag</a:t>
            </a:r>
            <a:r>
              <a:rPr lang="en-US" sz="1600" dirty="0">
                <a:latin typeface="+mj-lt"/>
              </a:rPr>
              <a:t>, proc (</a:t>
            </a:r>
            <a:r>
              <a:rPr lang="en-US" sz="1600" dirty="0" err="1">
                <a:latin typeface="+mj-lt"/>
              </a:rPr>
              <a:t>hlth_srvc_cd</a:t>
            </a:r>
            <a:r>
              <a:rPr lang="en-US" sz="1600" dirty="0">
                <a:latin typeface="+mj-lt"/>
              </a:rPr>
              <a:t>), revenue and medication (gpi2) codes</a:t>
            </a:r>
          </a:p>
          <a:p>
            <a:pPr marL="571500" lvl="2" indent="-342900">
              <a:buFont typeface="Arial" panose="020B0604020202020204" pitchFamily="34" charset="0"/>
              <a:buChar char="•"/>
            </a:pPr>
            <a:r>
              <a:rPr lang="en-US" sz="1600" dirty="0">
                <a:latin typeface="+mj-lt"/>
              </a:rPr>
              <a:t>41 static features </a:t>
            </a:r>
          </a:p>
          <a:p>
            <a:pPr marL="342900" indent="-342900">
              <a:buFont typeface="Arial" panose="020B0604020202020204" pitchFamily="34" charset="0"/>
              <a:buChar char="•"/>
            </a:pPr>
            <a:r>
              <a:rPr lang="en-US" sz="1600" dirty="0">
                <a:latin typeface="+mj-lt"/>
              </a:rPr>
              <a:t>Only 25% patients have any GPI codes.</a:t>
            </a:r>
          </a:p>
          <a:p>
            <a:pPr marL="342900" indent="-342900">
              <a:buFont typeface="Arial" panose="020B0604020202020204" pitchFamily="34" charset="0"/>
              <a:buChar char="•"/>
            </a:pPr>
            <a:r>
              <a:rPr lang="en-US" sz="1600" dirty="0">
                <a:latin typeface="+mj-lt"/>
              </a:rPr>
              <a:t>We have a dataset of 53310 patients, categorized as follows:</a:t>
            </a:r>
          </a:p>
          <a:p>
            <a:pPr lvl="3">
              <a:buFont typeface="Arial" panose="020B0604020202020204" pitchFamily="34" charset="0"/>
              <a:buChar char="•"/>
            </a:pPr>
            <a:r>
              <a:rPr lang="en-US" sz="1600" dirty="0">
                <a:latin typeface="+mj-lt"/>
              </a:rPr>
              <a:t>Low-risk newborn mothers: 42488.</a:t>
            </a:r>
          </a:p>
          <a:p>
            <a:pPr lvl="3">
              <a:buFont typeface="Arial" panose="020B0604020202020204" pitchFamily="34" charset="0"/>
              <a:buChar char="•"/>
            </a:pPr>
            <a:r>
              <a:rPr lang="en-US" sz="1600" dirty="0">
                <a:latin typeface="+mj-lt"/>
              </a:rPr>
              <a:t>High-risk newborn mothers: 10622.</a:t>
            </a:r>
          </a:p>
          <a:p>
            <a:pPr lvl="3">
              <a:buFont typeface="Arial" panose="020B0604020202020204" pitchFamily="34" charset="0"/>
              <a:buChar char="•"/>
            </a:pPr>
            <a:r>
              <a:rPr lang="en-US" sz="1600" dirty="0">
                <a:latin typeface="+mj-lt"/>
              </a:rPr>
              <a:t>The data has been randomly split into training, validation, and test sets with a ratio of 60:20:20, respectively.</a:t>
            </a:r>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sz="1800" b="0" i="0" u="none" strike="noStrike" dirty="0">
              <a:effectLst/>
              <a:highlight>
                <a:srgbClr val="5009B5"/>
              </a:highlight>
              <a:latin typeface="Arial" panose="020B0604020202020204" pitchFamily="34" charset="0"/>
            </a:endParaRPr>
          </a:p>
          <a:p>
            <a:pPr>
              <a:buFont typeface="Arial" panose="020B0604020202020204" pitchFamily="34" charset="0"/>
              <a:buChar char="•"/>
            </a:pPr>
            <a:endParaRPr lang="en-US" dirty="0"/>
          </a:p>
          <a:p>
            <a:endParaRPr lang="en-US" dirty="0"/>
          </a:p>
          <a:p>
            <a:endParaRPr lang="en-US" dirty="0"/>
          </a:p>
          <a:p>
            <a:endParaRPr lang="en-US" sz="1800" b="0" i="0" u="none" strike="noStrike" dirty="0">
              <a:effectLst/>
              <a:highlight>
                <a:srgbClr val="5009B5"/>
              </a:highlight>
              <a:latin typeface="Arial" panose="020B0604020202020204" pitchFamily="34" charset="0"/>
            </a:endParaRPr>
          </a:p>
          <a:p>
            <a:endParaRPr lang="en-US" dirty="0"/>
          </a:p>
        </p:txBody>
      </p:sp>
      <p:graphicFrame>
        <p:nvGraphicFramePr>
          <p:cNvPr id="8" name="Table 7">
            <a:extLst>
              <a:ext uri="{FF2B5EF4-FFF2-40B4-BE49-F238E27FC236}">
                <a16:creationId xmlns:a16="http://schemas.microsoft.com/office/drawing/2014/main" id="{368874D5-189E-F6DB-3E49-A852F31A80FC}"/>
              </a:ext>
            </a:extLst>
          </p:cNvPr>
          <p:cNvGraphicFramePr>
            <a:graphicFrameLocks noGrp="1"/>
          </p:cNvGraphicFramePr>
          <p:nvPr>
            <p:extLst>
              <p:ext uri="{D42A27DB-BD31-4B8C-83A1-F6EECF244321}">
                <p14:modId xmlns:p14="http://schemas.microsoft.com/office/powerpoint/2010/main" val="871662395"/>
              </p:ext>
            </p:extLst>
          </p:nvPr>
        </p:nvGraphicFramePr>
        <p:xfrm>
          <a:off x="1248193" y="5069068"/>
          <a:ext cx="7070616" cy="822960"/>
        </p:xfrm>
        <a:graphic>
          <a:graphicData uri="http://schemas.openxmlformats.org/drawingml/2006/table">
            <a:tbl>
              <a:tblPr firstRow="1" bandRow="1">
                <a:tableStyleId>{5C22544A-7EE6-4342-B048-85BDC9FD1C3A}</a:tableStyleId>
              </a:tblPr>
              <a:tblGrid>
                <a:gridCol w="2356872">
                  <a:extLst>
                    <a:ext uri="{9D8B030D-6E8A-4147-A177-3AD203B41FA5}">
                      <a16:colId xmlns:a16="http://schemas.microsoft.com/office/drawing/2014/main" val="887130187"/>
                    </a:ext>
                  </a:extLst>
                </a:gridCol>
                <a:gridCol w="2356872">
                  <a:extLst>
                    <a:ext uri="{9D8B030D-6E8A-4147-A177-3AD203B41FA5}">
                      <a16:colId xmlns:a16="http://schemas.microsoft.com/office/drawing/2014/main" val="2229924245"/>
                    </a:ext>
                  </a:extLst>
                </a:gridCol>
                <a:gridCol w="2356872">
                  <a:extLst>
                    <a:ext uri="{9D8B030D-6E8A-4147-A177-3AD203B41FA5}">
                      <a16:colId xmlns:a16="http://schemas.microsoft.com/office/drawing/2014/main" val="3065713595"/>
                    </a:ext>
                  </a:extLst>
                </a:gridCol>
              </a:tblGrid>
              <a:tr h="411480">
                <a:tc>
                  <a:txBody>
                    <a:bodyPr/>
                    <a:lstStyle/>
                    <a:p>
                      <a:r>
                        <a:rPr lang="en-US" dirty="0"/>
                        <a:t>Training data Size</a:t>
                      </a:r>
                    </a:p>
                  </a:txBody>
                  <a:tcPr/>
                </a:tc>
                <a:tc>
                  <a:txBody>
                    <a:bodyPr/>
                    <a:lstStyle/>
                    <a:p>
                      <a:r>
                        <a:rPr lang="en-US" dirty="0"/>
                        <a:t>Validation data Size</a:t>
                      </a:r>
                    </a:p>
                  </a:txBody>
                  <a:tcPr/>
                </a:tc>
                <a:tc>
                  <a:txBody>
                    <a:bodyPr/>
                    <a:lstStyle/>
                    <a:p>
                      <a:r>
                        <a:rPr lang="en-US" dirty="0"/>
                        <a:t>Test Data Size</a:t>
                      </a:r>
                    </a:p>
                  </a:txBody>
                  <a:tcPr/>
                </a:tc>
                <a:extLst>
                  <a:ext uri="{0D108BD9-81ED-4DB2-BD59-A6C34878D82A}">
                    <a16:rowId xmlns:a16="http://schemas.microsoft.com/office/drawing/2014/main" val="3312287797"/>
                  </a:ext>
                </a:extLst>
              </a:tr>
              <a:tr h="411480">
                <a:tc>
                  <a:txBody>
                    <a:bodyPr/>
                    <a:lstStyle/>
                    <a:p>
                      <a:r>
                        <a:rPr lang="en-US" dirty="0"/>
                        <a:t>31866</a:t>
                      </a:r>
                    </a:p>
                  </a:txBody>
                  <a:tcPr/>
                </a:tc>
                <a:tc>
                  <a:txBody>
                    <a:bodyPr/>
                    <a:lstStyle/>
                    <a:p>
                      <a:r>
                        <a:rPr lang="en-US" dirty="0"/>
                        <a:t>10622</a:t>
                      </a:r>
                    </a:p>
                  </a:txBody>
                  <a:tcPr/>
                </a:tc>
                <a:tc>
                  <a:txBody>
                    <a:bodyPr/>
                    <a:lstStyle/>
                    <a:p>
                      <a:r>
                        <a:rPr lang="en-US" dirty="0"/>
                        <a:t>10622</a:t>
                      </a:r>
                    </a:p>
                  </a:txBody>
                  <a:tcPr/>
                </a:tc>
                <a:extLst>
                  <a:ext uri="{0D108BD9-81ED-4DB2-BD59-A6C34878D82A}">
                    <a16:rowId xmlns:a16="http://schemas.microsoft.com/office/drawing/2014/main" val="3611895284"/>
                  </a:ext>
                </a:extLst>
              </a:tr>
            </a:tbl>
          </a:graphicData>
        </a:graphic>
      </p:graphicFrame>
    </p:spTree>
    <p:extLst>
      <p:ext uri="{BB962C8B-B14F-4D97-AF65-F5344CB8AC3E}">
        <p14:creationId xmlns:p14="http://schemas.microsoft.com/office/powerpoint/2010/main" val="1391421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56A75-3999-91A9-739F-AA729F17827F}"/>
              </a:ext>
            </a:extLst>
          </p:cNvPr>
          <p:cNvSpPr>
            <a:spLocks noGrp="1"/>
          </p:cNvSpPr>
          <p:nvPr>
            <p:ph type="title"/>
          </p:nvPr>
        </p:nvSpPr>
        <p:spPr/>
        <p:txBody>
          <a:bodyPr/>
          <a:lstStyle/>
          <a:p>
            <a:r>
              <a:rPr lang="en-US" dirty="0"/>
              <a:t>IHAN Results</a:t>
            </a:r>
          </a:p>
        </p:txBody>
      </p:sp>
      <p:sp>
        <p:nvSpPr>
          <p:cNvPr id="8" name="Content Placeholder 7">
            <a:extLst>
              <a:ext uri="{FF2B5EF4-FFF2-40B4-BE49-F238E27FC236}">
                <a16:creationId xmlns:a16="http://schemas.microsoft.com/office/drawing/2014/main" id="{94C2835C-85CD-6B79-2D65-7812E47DBE6C}"/>
              </a:ext>
            </a:extLst>
          </p:cNvPr>
          <p:cNvSpPr>
            <a:spLocks noGrp="1"/>
          </p:cNvSpPr>
          <p:nvPr>
            <p:ph idx="1"/>
          </p:nvPr>
        </p:nvSpPr>
        <p:spPr>
          <a:xfrm>
            <a:off x="314960" y="1422400"/>
            <a:ext cx="11435080" cy="4584700"/>
          </a:xfrm>
        </p:spPr>
        <p:txBody>
          <a:bodyPr/>
          <a:lstStyle/>
          <a:p>
            <a:r>
              <a:rPr lang="en-US" dirty="0"/>
              <a:t>1.IHAN4041 model : Used all 4 medical codes (i.e., Diagnosis, Procedure, </a:t>
            </a:r>
            <a:r>
              <a:rPr lang="en-US" dirty="0" err="1"/>
              <a:t>Rvnu</a:t>
            </a:r>
            <a:r>
              <a:rPr lang="en-US" dirty="0"/>
              <a:t>, and GPI) and included all the provided static features.</a:t>
            </a:r>
          </a:p>
          <a:p>
            <a:r>
              <a:rPr lang="en-US" dirty="0"/>
              <a:t>2. IHAN3041 model: Used Diagnosis, Procedure, and </a:t>
            </a:r>
            <a:r>
              <a:rPr lang="en-US" dirty="0" err="1"/>
              <a:t>Rvnu</a:t>
            </a:r>
            <a:r>
              <a:rPr lang="en-US" dirty="0"/>
              <a:t> codes and all the provided static features. No GPI code included (75% patients have no GPI codes).</a:t>
            </a:r>
          </a:p>
          <a:p>
            <a:endParaRPr lang="en-US" dirty="0"/>
          </a:p>
          <a:p>
            <a:endParaRPr lang="en-US" dirty="0"/>
          </a:p>
          <a:p>
            <a:endParaRPr lang="en-US" dirty="0"/>
          </a:p>
          <a:p>
            <a:endParaRPr lang="en-US" dirty="0"/>
          </a:p>
        </p:txBody>
      </p:sp>
      <p:graphicFrame>
        <p:nvGraphicFramePr>
          <p:cNvPr id="10" name="Table 9">
            <a:extLst>
              <a:ext uri="{FF2B5EF4-FFF2-40B4-BE49-F238E27FC236}">
                <a16:creationId xmlns:a16="http://schemas.microsoft.com/office/drawing/2014/main" id="{8ED1EF28-3073-CFE9-1825-E59834561A28}"/>
              </a:ext>
            </a:extLst>
          </p:cNvPr>
          <p:cNvGraphicFramePr>
            <a:graphicFrameLocks noGrp="1"/>
          </p:cNvGraphicFramePr>
          <p:nvPr>
            <p:extLst>
              <p:ext uri="{D42A27DB-BD31-4B8C-83A1-F6EECF244321}">
                <p14:modId xmlns:p14="http://schemas.microsoft.com/office/powerpoint/2010/main" val="4114987268"/>
              </p:ext>
            </p:extLst>
          </p:nvPr>
        </p:nvGraphicFramePr>
        <p:xfrm>
          <a:off x="1605280" y="3479800"/>
          <a:ext cx="8219439" cy="1516778"/>
        </p:xfrm>
        <a:graphic>
          <a:graphicData uri="http://schemas.openxmlformats.org/drawingml/2006/table">
            <a:tbl>
              <a:tblPr/>
              <a:tblGrid>
                <a:gridCol w="1125739">
                  <a:extLst>
                    <a:ext uri="{9D8B030D-6E8A-4147-A177-3AD203B41FA5}">
                      <a16:colId xmlns:a16="http://schemas.microsoft.com/office/drawing/2014/main" val="2389629002"/>
                    </a:ext>
                  </a:extLst>
                </a:gridCol>
                <a:gridCol w="1372476">
                  <a:extLst>
                    <a:ext uri="{9D8B030D-6E8A-4147-A177-3AD203B41FA5}">
                      <a16:colId xmlns:a16="http://schemas.microsoft.com/office/drawing/2014/main" val="2522308457"/>
                    </a:ext>
                  </a:extLst>
                </a:gridCol>
                <a:gridCol w="1233687">
                  <a:extLst>
                    <a:ext uri="{9D8B030D-6E8A-4147-A177-3AD203B41FA5}">
                      <a16:colId xmlns:a16="http://schemas.microsoft.com/office/drawing/2014/main" val="3322877417"/>
                    </a:ext>
                  </a:extLst>
                </a:gridCol>
                <a:gridCol w="4487537">
                  <a:extLst>
                    <a:ext uri="{9D8B030D-6E8A-4147-A177-3AD203B41FA5}">
                      <a16:colId xmlns:a16="http://schemas.microsoft.com/office/drawing/2014/main" val="2802514915"/>
                    </a:ext>
                  </a:extLst>
                </a:gridCol>
              </a:tblGrid>
              <a:tr h="467990">
                <a:tc>
                  <a:txBody>
                    <a:bodyPr/>
                    <a:lstStyle/>
                    <a:p>
                      <a:pPr algn="l" fontAlgn="b"/>
                      <a:r>
                        <a:rPr lang="en-US" sz="1400" b="0" i="0" u="none" strike="noStrike" dirty="0" err="1">
                          <a:solidFill>
                            <a:srgbClr val="000000"/>
                          </a:solidFill>
                          <a:effectLst/>
                          <a:highlight>
                            <a:srgbClr val="FFFF00"/>
                          </a:highlight>
                          <a:latin typeface="Elevance Sans Medium" pitchFamily="50" charset="0"/>
                        </a:rPr>
                        <a:t>IHAN_models</a:t>
                      </a:r>
                      <a:endParaRPr lang="en-US" sz="1400" b="0" i="0" u="none" strike="noStrike" dirty="0">
                        <a:solidFill>
                          <a:srgbClr val="000000"/>
                        </a:solidFill>
                        <a:effectLst/>
                        <a:highlight>
                          <a:srgbClr val="FFFF00"/>
                        </a:highlight>
                        <a:latin typeface="Elevance Sans Medium" pitchFamily="50"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a:solidFill>
                            <a:srgbClr val="000000"/>
                          </a:solidFill>
                          <a:effectLst/>
                          <a:highlight>
                            <a:srgbClr val="FFFF00"/>
                          </a:highlight>
                          <a:latin typeface="Elevance Sans Medium" pitchFamily="50" charset="0"/>
                        </a:rPr>
                        <a:t>Train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a:solidFill>
                            <a:srgbClr val="000000"/>
                          </a:solidFill>
                          <a:effectLst/>
                          <a:highlight>
                            <a:srgbClr val="FFFF00"/>
                          </a:highlight>
                          <a:latin typeface="Elevance Sans Medium" pitchFamily="50" charset="0"/>
                        </a:rPr>
                        <a:t>Test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400" b="0" i="0" u="none" strike="noStrike" dirty="0" err="1">
                          <a:solidFill>
                            <a:srgbClr val="000000"/>
                          </a:solidFill>
                          <a:effectLst/>
                          <a:highlight>
                            <a:srgbClr val="FFFF00"/>
                          </a:highlight>
                          <a:latin typeface="Elevance Sans Medium" pitchFamily="50" charset="0"/>
                        </a:rPr>
                        <a:t>Test_score_tbl_name</a:t>
                      </a:r>
                      <a:r>
                        <a:rPr lang="en-US" sz="1400" b="0" i="0" u="none" strike="noStrike" dirty="0">
                          <a:solidFill>
                            <a:srgbClr val="000000"/>
                          </a:solidFill>
                          <a:effectLst/>
                          <a:highlight>
                            <a:srgbClr val="FFFF00"/>
                          </a:highlight>
                          <a:latin typeface="Elevance Sans Medium" pitchFamily="50" charset="0"/>
                        </a:rPr>
                        <a:t> (in snowflak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736673100"/>
                  </a:ext>
                </a:extLst>
              </a:tr>
              <a:tr h="524394">
                <a:tc>
                  <a:txBody>
                    <a:bodyPr/>
                    <a:lstStyle/>
                    <a:p>
                      <a:pPr algn="l" fontAlgn="b"/>
                      <a:r>
                        <a:rPr lang="en-US" sz="1400" b="0" i="0" u="none" strike="noStrike" dirty="0">
                          <a:solidFill>
                            <a:srgbClr val="000000"/>
                          </a:solidFill>
                          <a:effectLst/>
                          <a:latin typeface="Elevance Sans Medium" pitchFamily="50" charset="0"/>
                        </a:rPr>
                        <a:t>IHAN_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0989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1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Elevance Sans Medium" pitchFamily="50" charset="0"/>
                        </a:rPr>
                        <a:t>NON_CRTFD_AIFS.DL_TS_STAR.HIGH_RISK_NEWBORNS_MOTHER_TEST_SCORE_ITER2_IHAN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6971089"/>
                  </a:ext>
                </a:extLst>
              </a:tr>
              <a:tr h="524394">
                <a:tc>
                  <a:txBody>
                    <a:bodyPr/>
                    <a:lstStyle/>
                    <a:p>
                      <a:pPr algn="l" fontAlgn="b"/>
                      <a:r>
                        <a:rPr lang="en-US" sz="1400" b="0" i="0" u="none" strike="noStrike" dirty="0">
                          <a:solidFill>
                            <a:srgbClr val="000000"/>
                          </a:solidFill>
                          <a:effectLst/>
                          <a:latin typeface="Elevance Sans Medium" pitchFamily="50" charset="0"/>
                        </a:rPr>
                        <a:t>IHAN_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2629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2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Elevance Sans Medium" pitchFamily="50" charset="0"/>
                        </a:rPr>
                        <a:t>NON_CRTFD_AIFS.DL_TS_STAR.HIGH_RISK_NEWBORNS_MOTHER_TEST_SCORE_ITER2_IHAN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12043"/>
                  </a:ext>
                </a:extLst>
              </a:tr>
            </a:tbl>
          </a:graphicData>
        </a:graphic>
      </p:graphicFrame>
    </p:spTree>
    <p:extLst>
      <p:ext uri="{BB962C8B-B14F-4D97-AF65-F5344CB8AC3E}">
        <p14:creationId xmlns:p14="http://schemas.microsoft.com/office/powerpoint/2010/main" val="2208439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5C6D-AC06-6C75-D83A-9412DD6B26B6}"/>
              </a:ext>
            </a:extLst>
          </p:cNvPr>
          <p:cNvSpPr>
            <a:spLocks noGrp="1"/>
          </p:cNvSpPr>
          <p:nvPr>
            <p:ph type="title"/>
          </p:nvPr>
        </p:nvSpPr>
        <p:spPr/>
        <p:txBody>
          <a:bodyPr/>
          <a:lstStyle/>
          <a:p>
            <a:r>
              <a:rPr lang="en-US" dirty="0"/>
              <a:t>IHAN Results</a:t>
            </a:r>
          </a:p>
        </p:txBody>
      </p:sp>
      <p:graphicFrame>
        <p:nvGraphicFramePr>
          <p:cNvPr id="8" name="Content Placeholder 7">
            <a:extLst>
              <a:ext uri="{FF2B5EF4-FFF2-40B4-BE49-F238E27FC236}">
                <a16:creationId xmlns:a16="http://schemas.microsoft.com/office/drawing/2014/main" id="{C3A324F8-95F9-A9D2-0978-4CE085988CFE}"/>
              </a:ext>
            </a:extLst>
          </p:cNvPr>
          <p:cNvGraphicFramePr>
            <a:graphicFrameLocks noGrp="1"/>
          </p:cNvGraphicFramePr>
          <p:nvPr>
            <p:ph idx="1"/>
            <p:extLst>
              <p:ext uri="{D42A27DB-BD31-4B8C-83A1-F6EECF244321}">
                <p14:modId xmlns:p14="http://schemas.microsoft.com/office/powerpoint/2010/main" val="928149519"/>
              </p:ext>
            </p:extLst>
          </p:nvPr>
        </p:nvGraphicFramePr>
        <p:xfrm>
          <a:off x="1330960" y="1625600"/>
          <a:ext cx="7650480" cy="3525520"/>
        </p:xfrm>
        <a:graphic>
          <a:graphicData uri="http://schemas.openxmlformats.org/drawingml/2006/table">
            <a:tbl>
              <a:tblPr/>
              <a:tblGrid>
                <a:gridCol w="4013564">
                  <a:extLst>
                    <a:ext uri="{9D8B030D-6E8A-4147-A177-3AD203B41FA5}">
                      <a16:colId xmlns:a16="http://schemas.microsoft.com/office/drawing/2014/main" val="2071094604"/>
                    </a:ext>
                  </a:extLst>
                </a:gridCol>
                <a:gridCol w="1478049">
                  <a:extLst>
                    <a:ext uri="{9D8B030D-6E8A-4147-A177-3AD203B41FA5}">
                      <a16:colId xmlns:a16="http://schemas.microsoft.com/office/drawing/2014/main" val="3815990455"/>
                    </a:ext>
                  </a:extLst>
                </a:gridCol>
                <a:gridCol w="2158867">
                  <a:extLst>
                    <a:ext uri="{9D8B030D-6E8A-4147-A177-3AD203B41FA5}">
                      <a16:colId xmlns:a16="http://schemas.microsoft.com/office/drawing/2014/main" val="3305321572"/>
                    </a:ext>
                  </a:extLst>
                </a:gridCol>
              </a:tblGrid>
              <a:tr h="440690">
                <a:tc>
                  <a:txBody>
                    <a:bodyPr/>
                    <a:lstStyle/>
                    <a:p>
                      <a:pPr algn="l" fontAlgn="b"/>
                      <a:r>
                        <a:rPr lang="en-US" sz="1600" b="1" i="0" u="none" strike="noStrike" dirty="0" err="1">
                          <a:solidFill>
                            <a:srgbClr val="000000"/>
                          </a:solidFill>
                          <a:effectLst/>
                          <a:highlight>
                            <a:srgbClr val="FFFF00"/>
                          </a:highlight>
                          <a:latin typeface="Elevance Sans Medium" pitchFamily="50" charset="0"/>
                        </a:rPr>
                        <a:t>IHAN_models</a:t>
                      </a:r>
                      <a:endParaRPr lang="en-US" sz="1600" b="1" i="0" u="none" strike="noStrike" dirty="0">
                        <a:solidFill>
                          <a:srgbClr val="000000"/>
                        </a:solidFill>
                        <a:effectLst/>
                        <a:highlight>
                          <a:srgbClr val="FFFF00"/>
                        </a:highlight>
                        <a:latin typeface="Elevance Sans Medium" pitchFamily="50"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dirty="0" err="1">
                          <a:solidFill>
                            <a:srgbClr val="000000"/>
                          </a:solidFill>
                          <a:effectLst/>
                          <a:highlight>
                            <a:srgbClr val="FFFF00"/>
                          </a:highlight>
                          <a:latin typeface="Elevance Sans Medium" pitchFamily="50" charset="0"/>
                        </a:rPr>
                        <a:t>Train_AUC</a:t>
                      </a:r>
                      <a:endParaRPr lang="en-US" sz="1600" b="1" i="0" u="none" strike="noStrike" dirty="0">
                        <a:solidFill>
                          <a:srgbClr val="000000"/>
                        </a:solidFill>
                        <a:effectLst/>
                        <a:highlight>
                          <a:srgbClr val="FFFF00"/>
                        </a:highlight>
                        <a:latin typeface="Elevance Sans Medium" pitchFamily="50"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highlight>
                            <a:srgbClr val="FFFF00"/>
                          </a:highlight>
                          <a:latin typeface="Elevance Sans Medium" pitchFamily="50" charset="0"/>
                        </a:rPr>
                        <a:t>Test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497308515"/>
                  </a:ext>
                </a:extLst>
              </a:tr>
              <a:tr h="440690">
                <a:tc>
                  <a:txBody>
                    <a:bodyPr/>
                    <a:lstStyle/>
                    <a:p>
                      <a:pPr algn="l" fontAlgn="b"/>
                      <a:r>
                        <a:rPr lang="en-US" sz="1600" b="0" i="0" u="none" strike="noStrike" dirty="0">
                          <a:solidFill>
                            <a:srgbClr val="000000"/>
                          </a:solidFill>
                          <a:effectLst/>
                          <a:latin typeface="Elevance Sans Medium" pitchFamily="50" charset="0"/>
                        </a:rPr>
                        <a:t>IHAN_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80989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81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3035359"/>
                  </a:ext>
                </a:extLst>
              </a:tr>
              <a:tr h="440690">
                <a:tc>
                  <a:txBody>
                    <a:bodyPr/>
                    <a:lstStyle/>
                    <a:p>
                      <a:pPr algn="l" fontAlgn="b"/>
                      <a:r>
                        <a:rPr lang="en-US" sz="1600" b="0" i="0" u="none" strike="noStrike" dirty="0">
                          <a:solidFill>
                            <a:srgbClr val="000000"/>
                          </a:solidFill>
                          <a:effectLst/>
                          <a:latin typeface="Elevance Sans Medium" pitchFamily="50" charset="0"/>
                        </a:rPr>
                        <a:t>IHAN_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dirty="0">
                          <a:solidFill>
                            <a:srgbClr val="000000"/>
                          </a:solidFill>
                          <a:effectLst/>
                          <a:latin typeface="Elevance Sans Medium" pitchFamily="50" charset="0"/>
                        </a:rPr>
                        <a:t>0.82629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82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9424789"/>
                  </a:ext>
                </a:extLst>
              </a:tr>
              <a:tr h="440690">
                <a:tc>
                  <a:txBody>
                    <a:bodyPr/>
                    <a:lstStyle/>
                    <a:p>
                      <a:pPr algn="l" fontAlgn="b"/>
                      <a:r>
                        <a:rPr lang="en-US" sz="1600" b="0" i="0" u="none" strike="noStrike">
                          <a:solidFill>
                            <a:srgbClr val="000000"/>
                          </a:solidFill>
                          <a:effectLst/>
                          <a:latin typeface="Elevance Sans Medium" pitchFamily="50" charset="0"/>
                        </a:rPr>
                        <a:t>IHAN_201(diag &amp; pro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dirty="0">
                          <a:solidFill>
                            <a:srgbClr val="000000"/>
                          </a:solidFill>
                          <a:effectLst/>
                          <a:latin typeface="Elevance Sans Medium" pitchFamily="50" charset="0"/>
                        </a:rPr>
                        <a:t>0.80154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799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7663904"/>
                  </a:ext>
                </a:extLst>
              </a:tr>
              <a:tr h="440690">
                <a:tc>
                  <a:txBody>
                    <a:bodyPr/>
                    <a:lstStyle/>
                    <a:p>
                      <a:pPr algn="l" fontAlgn="b"/>
                      <a:r>
                        <a:rPr lang="en-US" sz="1600" b="0" i="0" u="none" strike="noStrike" dirty="0">
                          <a:solidFill>
                            <a:srgbClr val="000000"/>
                          </a:solidFill>
                          <a:effectLst/>
                          <a:latin typeface="Elevance Sans Medium" pitchFamily="50" charset="0"/>
                        </a:rPr>
                        <a:t>IHAN_205(</a:t>
                      </a:r>
                      <a:r>
                        <a:rPr lang="en-US" sz="1600" b="0" i="0" u="none" strike="noStrike" dirty="0" err="1">
                          <a:solidFill>
                            <a:srgbClr val="000000"/>
                          </a:solidFill>
                          <a:effectLst/>
                          <a:latin typeface="Elevance Sans Medium" pitchFamily="50" charset="0"/>
                        </a:rPr>
                        <a:t>doag&amp;proc</a:t>
                      </a:r>
                      <a:r>
                        <a:rPr lang="en-US" sz="1600" b="0" i="0" u="none" strike="noStrike" dirty="0">
                          <a:solidFill>
                            <a:srgbClr val="000000"/>
                          </a:solidFill>
                          <a:effectLst/>
                          <a:latin typeface="Elevance Sans Medium" pitchFamily="50"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80488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806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3471476"/>
                  </a:ext>
                </a:extLst>
              </a:tr>
              <a:tr h="440690">
                <a:tc>
                  <a:txBody>
                    <a:bodyPr/>
                    <a:lstStyle/>
                    <a:p>
                      <a:pPr algn="l" fontAlgn="b"/>
                      <a:r>
                        <a:rPr lang="en-US" sz="1600" b="0" i="0" u="none" strike="noStrike">
                          <a:solidFill>
                            <a:srgbClr val="000000"/>
                          </a:solidFill>
                          <a:effectLst/>
                          <a:latin typeface="Elevance Sans Medium" pitchFamily="50" charset="0"/>
                        </a:rPr>
                        <a:t>IHAN 101 (only di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79892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807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9251842"/>
                  </a:ext>
                </a:extLst>
              </a:tr>
              <a:tr h="440690">
                <a:tc>
                  <a:txBody>
                    <a:bodyPr/>
                    <a:lstStyle/>
                    <a:p>
                      <a:pPr algn="l" fontAlgn="b"/>
                      <a:r>
                        <a:rPr lang="en-US" sz="1600" b="0" i="0" u="none" strike="noStrike">
                          <a:solidFill>
                            <a:srgbClr val="000000"/>
                          </a:solidFill>
                          <a:effectLst/>
                          <a:latin typeface="Elevance Sans Medium" pitchFamily="50" charset="0"/>
                        </a:rPr>
                        <a:t>IHAN 305[age, last 3,6,9,12mnth_preg_am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8195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dirty="0">
                          <a:solidFill>
                            <a:srgbClr val="000000"/>
                          </a:solidFill>
                          <a:effectLst/>
                          <a:latin typeface="Elevance Sans Medium" pitchFamily="50" charset="0"/>
                        </a:rPr>
                        <a:t>0.82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543590"/>
                  </a:ext>
                </a:extLst>
              </a:tr>
              <a:tr h="440690">
                <a:tc>
                  <a:txBody>
                    <a:bodyPr/>
                    <a:lstStyle/>
                    <a:p>
                      <a:pPr algn="l" fontAlgn="b"/>
                      <a:r>
                        <a:rPr lang="en-US" sz="1600" b="0" i="0" u="none" strike="noStrike">
                          <a:solidFill>
                            <a:srgbClr val="000000"/>
                          </a:solidFill>
                          <a:effectLst/>
                          <a:latin typeface="Elevance Sans Medium" pitchFamily="50" charset="0"/>
                        </a:rPr>
                        <a:t>IHAN 303[age, last 9,12mnth_preg_am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Elevance Sans Medium" pitchFamily="50" charset="0"/>
                        </a:rPr>
                        <a:t>0.82061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dirty="0">
                          <a:solidFill>
                            <a:srgbClr val="000000"/>
                          </a:solidFill>
                          <a:effectLst/>
                          <a:latin typeface="Elevance Sans Medium" pitchFamily="50" charset="0"/>
                        </a:rPr>
                        <a:t>0.822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7645819"/>
                  </a:ext>
                </a:extLst>
              </a:tr>
            </a:tbl>
          </a:graphicData>
        </a:graphic>
      </p:graphicFrame>
    </p:spTree>
    <p:extLst>
      <p:ext uri="{BB962C8B-B14F-4D97-AF65-F5344CB8AC3E}">
        <p14:creationId xmlns:p14="http://schemas.microsoft.com/office/powerpoint/2010/main" val="3418295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880F3-BDD7-0E47-5B04-F2F450A98577}"/>
              </a:ext>
            </a:extLst>
          </p:cNvPr>
          <p:cNvSpPr>
            <a:spLocks noGrp="1"/>
          </p:cNvSpPr>
          <p:nvPr>
            <p:ph type="title"/>
          </p:nvPr>
        </p:nvSpPr>
        <p:spPr/>
        <p:txBody>
          <a:bodyPr/>
          <a:lstStyle/>
          <a:p>
            <a:r>
              <a:rPr lang="en-US" dirty="0"/>
              <a:t>IHAN Test AUC results comparison </a:t>
            </a:r>
          </a:p>
        </p:txBody>
      </p:sp>
      <p:graphicFrame>
        <p:nvGraphicFramePr>
          <p:cNvPr id="6" name="Content Placeholder 5">
            <a:extLst>
              <a:ext uri="{FF2B5EF4-FFF2-40B4-BE49-F238E27FC236}">
                <a16:creationId xmlns:a16="http://schemas.microsoft.com/office/drawing/2014/main" id="{2B346614-9B0D-C643-F111-68F730868C89}"/>
              </a:ext>
            </a:extLst>
          </p:cNvPr>
          <p:cNvGraphicFramePr>
            <a:graphicFrameLocks noGrp="1"/>
          </p:cNvGraphicFramePr>
          <p:nvPr>
            <p:ph idx="1"/>
            <p:extLst>
              <p:ext uri="{D42A27DB-BD31-4B8C-83A1-F6EECF244321}">
                <p14:modId xmlns:p14="http://schemas.microsoft.com/office/powerpoint/2010/main" val="2794258524"/>
              </p:ext>
            </p:extLst>
          </p:nvPr>
        </p:nvGraphicFramePr>
        <p:xfrm>
          <a:off x="965200" y="1513840"/>
          <a:ext cx="9321249" cy="3942080"/>
        </p:xfrm>
        <a:graphic>
          <a:graphicData uri="http://schemas.openxmlformats.org/drawingml/2006/table">
            <a:tbl>
              <a:tblPr/>
              <a:tblGrid>
                <a:gridCol w="3766937">
                  <a:extLst>
                    <a:ext uri="{9D8B030D-6E8A-4147-A177-3AD203B41FA5}">
                      <a16:colId xmlns:a16="http://schemas.microsoft.com/office/drawing/2014/main" val="878806610"/>
                    </a:ext>
                  </a:extLst>
                </a:gridCol>
                <a:gridCol w="1633621">
                  <a:extLst>
                    <a:ext uri="{9D8B030D-6E8A-4147-A177-3AD203B41FA5}">
                      <a16:colId xmlns:a16="http://schemas.microsoft.com/office/drawing/2014/main" val="3818702214"/>
                    </a:ext>
                  </a:extLst>
                </a:gridCol>
                <a:gridCol w="1921907">
                  <a:extLst>
                    <a:ext uri="{9D8B030D-6E8A-4147-A177-3AD203B41FA5}">
                      <a16:colId xmlns:a16="http://schemas.microsoft.com/office/drawing/2014/main" val="4260070178"/>
                    </a:ext>
                  </a:extLst>
                </a:gridCol>
                <a:gridCol w="1998784">
                  <a:extLst>
                    <a:ext uri="{9D8B030D-6E8A-4147-A177-3AD203B41FA5}">
                      <a16:colId xmlns:a16="http://schemas.microsoft.com/office/drawing/2014/main" val="4198899241"/>
                    </a:ext>
                  </a:extLst>
                </a:gridCol>
              </a:tblGrid>
              <a:tr h="788416">
                <a:tc>
                  <a:txBody>
                    <a:bodyPr/>
                    <a:lstStyle/>
                    <a:p>
                      <a:pPr algn="l" fontAlgn="b"/>
                      <a:r>
                        <a:rPr lang="en-US" sz="1600" b="0" i="0" u="none" strike="noStrike" dirty="0">
                          <a:solidFill>
                            <a:srgbClr val="000000"/>
                          </a:solidFill>
                          <a:effectLst/>
                          <a:highlight>
                            <a:srgbClr val="FFFF00"/>
                          </a:highlight>
                          <a:latin typeface="Elevance Sans Medium" pitchFamily="50" charset="0"/>
                        </a:rPr>
                        <a:t>IHAN_Model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dirty="0">
                          <a:solidFill>
                            <a:srgbClr val="000000"/>
                          </a:solidFill>
                          <a:effectLst/>
                          <a:highlight>
                            <a:srgbClr val="FFFF00"/>
                          </a:highlight>
                          <a:latin typeface="Elevance Sans Medium" pitchFamily="50" charset="0"/>
                        </a:rPr>
                        <a:t>Test_AUC_2yr_tgt_2yr_input_da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dirty="0">
                          <a:solidFill>
                            <a:srgbClr val="000000"/>
                          </a:solidFill>
                          <a:effectLst/>
                          <a:highlight>
                            <a:srgbClr val="FFFF00"/>
                          </a:highlight>
                          <a:latin typeface="Elevance Sans Medium" pitchFamily="50" charset="0"/>
                        </a:rPr>
                        <a:t>Test_AUC_1yr_tgt_2yr_input_da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dirty="0">
                          <a:solidFill>
                            <a:srgbClr val="000000"/>
                          </a:solidFill>
                          <a:effectLst/>
                          <a:highlight>
                            <a:srgbClr val="FFFF00"/>
                          </a:highlight>
                          <a:latin typeface="Elevance Sans Medium" pitchFamily="50" charset="0"/>
                        </a:rPr>
                        <a:t>Test_AUC_2yr_tgt_1yr_input_da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940979324"/>
                  </a:ext>
                </a:extLst>
              </a:tr>
              <a:tr h="394208">
                <a:tc>
                  <a:txBody>
                    <a:bodyPr/>
                    <a:lstStyle/>
                    <a:p>
                      <a:pPr algn="l" fontAlgn="b"/>
                      <a:r>
                        <a:rPr lang="en-US" sz="1400" b="0" i="0" u="none" strike="noStrike" dirty="0">
                          <a:solidFill>
                            <a:srgbClr val="000000"/>
                          </a:solidFill>
                          <a:effectLst/>
                          <a:latin typeface="Elevance Sans Medium" pitchFamily="50" charset="0"/>
                        </a:rPr>
                        <a:t>IHAN_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1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Elevance Sans Medium" pitchFamily="50" charset="0"/>
                        </a:rPr>
                        <a:t>0.799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Elevance Sans Medium" pitchFamily="50" charset="0"/>
                        </a:rPr>
                        <a:t>0.80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9455026"/>
                  </a:ext>
                </a:extLst>
              </a:tr>
              <a:tr h="394208">
                <a:tc>
                  <a:txBody>
                    <a:bodyPr/>
                    <a:lstStyle/>
                    <a:p>
                      <a:pPr algn="l" fontAlgn="b"/>
                      <a:r>
                        <a:rPr lang="en-US" sz="1400" b="0" i="0" u="none" strike="noStrike">
                          <a:solidFill>
                            <a:srgbClr val="000000"/>
                          </a:solidFill>
                          <a:effectLst/>
                          <a:latin typeface="Elevance Sans Medium" pitchFamily="50" charset="0"/>
                        </a:rPr>
                        <a:t>IHAN_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2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0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2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8025567"/>
                  </a:ext>
                </a:extLst>
              </a:tr>
              <a:tr h="394208">
                <a:tc>
                  <a:txBody>
                    <a:bodyPr/>
                    <a:lstStyle/>
                    <a:p>
                      <a:pPr algn="l" fontAlgn="b"/>
                      <a:r>
                        <a:rPr lang="en-US" sz="1400" b="0" i="0" u="none" strike="noStrike">
                          <a:solidFill>
                            <a:srgbClr val="000000"/>
                          </a:solidFill>
                          <a:effectLst/>
                          <a:latin typeface="Elevance Sans Medium" pitchFamily="50" charset="0"/>
                        </a:rPr>
                        <a:t>IHAN_201[diag &amp; pro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799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783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2268039"/>
                  </a:ext>
                </a:extLst>
              </a:tr>
              <a:tr h="394208">
                <a:tc>
                  <a:txBody>
                    <a:bodyPr/>
                    <a:lstStyle/>
                    <a:p>
                      <a:pPr algn="l" fontAlgn="b"/>
                      <a:r>
                        <a:rPr lang="en-US" sz="1400" b="0" i="0" u="none" strike="noStrike">
                          <a:solidFill>
                            <a:srgbClr val="000000"/>
                          </a:solidFill>
                          <a:effectLst/>
                          <a:latin typeface="Elevance Sans Medium" pitchFamily="50" charset="0"/>
                        </a:rPr>
                        <a:t>IHAN_205[doag&amp;pro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06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778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Elevance Sans Medium" pitchFamily="50" charset="0"/>
                        </a:rPr>
                        <a:t>0.815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6761426"/>
                  </a:ext>
                </a:extLst>
              </a:tr>
              <a:tr h="394208">
                <a:tc>
                  <a:txBody>
                    <a:bodyPr/>
                    <a:lstStyle/>
                    <a:p>
                      <a:pPr algn="l" fontAlgn="b"/>
                      <a:r>
                        <a:rPr lang="en-US" sz="1400" b="0" i="0" u="none" strike="noStrike">
                          <a:solidFill>
                            <a:srgbClr val="000000"/>
                          </a:solidFill>
                          <a:effectLst/>
                          <a:latin typeface="Elevance Sans Medium" pitchFamily="50" charset="0"/>
                        </a:rPr>
                        <a:t>IHAN_101 [only di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07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794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1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7296145"/>
                  </a:ext>
                </a:extLst>
              </a:tr>
              <a:tr h="788416">
                <a:tc>
                  <a:txBody>
                    <a:bodyPr/>
                    <a:lstStyle/>
                    <a:p>
                      <a:pPr algn="l" fontAlgn="b"/>
                      <a:r>
                        <a:rPr lang="en-US" sz="1400" b="0" i="0" u="none" strike="noStrike">
                          <a:solidFill>
                            <a:srgbClr val="000000"/>
                          </a:solidFill>
                          <a:effectLst/>
                          <a:latin typeface="Elevance Sans Medium" pitchFamily="50" charset="0"/>
                        </a:rPr>
                        <a:t>IHAN_305[age, last 3,6,9,12mnth_preg_am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2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08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1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7057373"/>
                  </a:ext>
                </a:extLst>
              </a:tr>
              <a:tr h="394208">
                <a:tc>
                  <a:txBody>
                    <a:bodyPr/>
                    <a:lstStyle/>
                    <a:p>
                      <a:pPr algn="l" fontAlgn="b"/>
                      <a:r>
                        <a:rPr lang="en-US" sz="1400" b="0" i="0" u="none" strike="noStrike">
                          <a:solidFill>
                            <a:srgbClr val="000000"/>
                          </a:solidFill>
                          <a:effectLst/>
                          <a:latin typeface="Elevance Sans Medium" pitchFamily="50" charset="0"/>
                        </a:rPr>
                        <a:t>IHAN_303[age, last 9,12mnth_preg_am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22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Elevance Sans Medium" pitchFamily="50" charset="0"/>
                        </a:rPr>
                        <a:t>0.80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Elevance Sans Medium" pitchFamily="50" charset="0"/>
                        </a:rPr>
                        <a:t>0.817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9164136"/>
                  </a:ext>
                </a:extLst>
              </a:tr>
            </a:tbl>
          </a:graphicData>
        </a:graphic>
      </p:graphicFrame>
    </p:spTree>
    <p:extLst>
      <p:ext uri="{BB962C8B-B14F-4D97-AF65-F5344CB8AC3E}">
        <p14:creationId xmlns:p14="http://schemas.microsoft.com/office/powerpoint/2010/main" val="24429184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C9521-95BD-AB80-F57A-78B953EB61D2}"/>
              </a:ext>
            </a:extLst>
          </p:cNvPr>
          <p:cNvSpPr>
            <a:spLocks noGrp="1"/>
          </p:cNvSpPr>
          <p:nvPr>
            <p:ph type="title"/>
          </p:nvPr>
        </p:nvSpPr>
        <p:spPr/>
        <p:txBody>
          <a:bodyPr/>
          <a:lstStyle/>
          <a:p>
            <a:r>
              <a:rPr lang="en-US" dirty="0"/>
              <a:t>IHAN Test AUC results comparison </a:t>
            </a:r>
          </a:p>
        </p:txBody>
      </p:sp>
      <p:graphicFrame>
        <p:nvGraphicFramePr>
          <p:cNvPr id="6" name="Content Placeholder 5">
            <a:extLst>
              <a:ext uri="{FF2B5EF4-FFF2-40B4-BE49-F238E27FC236}">
                <a16:creationId xmlns:a16="http://schemas.microsoft.com/office/drawing/2014/main" id="{F7ADCD43-6C29-5D29-8E93-1F7784A33BB5}"/>
              </a:ext>
            </a:extLst>
          </p:cNvPr>
          <p:cNvGraphicFramePr>
            <a:graphicFrameLocks noGrp="1"/>
          </p:cNvGraphicFramePr>
          <p:nvPr>
            <p:ph idx="1"/>
            <p:extLst>
              <p:ext uri="{D42A27DB-BD31-4B8C-83A1-F6EECF244321}">
                <p14:modId xmlns:p14="http://schemas.microsoft.com/office/powerpoint/2010/main" val="2104448167"/>
              </p:ext>
            </p:extLst>
          </p:nvPr>
        </p:nvGraphicFramePr>
        <p:xfrm>
          <a:off x="457200" y="1693863"/>
          <a:ext cx="11293475" cy="431323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75563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D1442-2BF0-0E9B-C614-9220C28A3C92}"/>
              </a:ext>
            </a:extLst>
          </p:cNvPr>
          <p:cNvSpPr>
            <a:spLocks noGrp="1"/>
          </p:cNvSpPr>
          <p:nvPr>
            <p:ph type="title"/>
          </p:nvPr>
        </p:nvSpPr>
        <p:spPr/>
        <p:txBody>
          <a:bodyPr/>
          <a:lstStyle/>
          <a:p>
            <a:r>
              <a:rPr lang="en-US" dirty="0"/>
              <a:t>Top 30 Risk Increasing Medical Codes (based on test data – IHAN4041 model, count &gt;=5)</a:t>
            </a:r>
          </a:p>
        </p:txBody>
      </p:sp>
      <p:graphicFrame>
        <p:nvGraphicFramePr>
          <p:cNvPr id="5" name="Content Placeholder 4">
            <a:extLst>
              <a:ext uri="{FF2B5EF4-FFF2-40B4-BE49-F238E27FC236}">
                <a16:creationId xmlns:a16="http://schemas.microsoft.com/office/drawing/2014/main" id="{5C6BB42C-189F-2B1B-5160-398F072E3161}"/>
              </a:ext>
            </a:extLst>
          </p:cNvPr>
          <p:cNvGraphicFramePr>
            <a:graphicFrameLocks noGrp="1"/>
          </p:cNvGraphicFramePr>
          <p:nvPr>
            <p:ph idx="1"/>
            <p:extLst>
              <p:ext uri="{D42A27DB-BD31-4B8C-83A1-F6EECF244321}">
                <p14:modId xmlns:p14="http://schemas.microsoft.com/office/powerpoint/2010/main" val="3305928052"/>
              </p:ext>
            </p:extLst>
          </p:nvPr>
        </p:nvGraphicFramePr>
        <p:xfrm>
          <a:off x="832112" y="1207008"/>
          <a:ext cx="9900744" cy="5090585"/>
        </p:xfrm>
        <a:graphic>
          <a:graphicData uri="http://schemas.openxmlformats.org/drawingml/2006/table">
            <a:tbl>
              <a:tblPr/>
              <a:tblGrid>
                <a:gridCol w="466888">
                  <a:extLst>
                    <a:ext uri="{9D8B030D-6E8A-4147-A177-3AD203B41FA5}">
                      <a16:colId xmlns:a16="http://schemas.microsoft.com/office/drawing/2014/main" val="1325133819"/>
                    </a:ext>
                  </a:extLst>
                </a:gridCol>
                <a:gridCol w="425691">
                  <a:extLst>
                    <a:ext uri="{9D8B030D-6E8A-4147-A177-3AD203B41FA5}">
                      <a16:colId xmlns:a16="http://schemas.microsoft.com/office/drawing/2014/main" val="1950637793"/>
                    </a:ext>
                  </a:extLst>
                </a:gridCol>
                <a:gridCol w="431724">
                  <a:extLst>
                    <a:ext uri="{9D8B030D-6E8A-4147-A177-3AD203B41FA5}">
                      <a16:colId xmlns:a16="http://schemas.microsoft.com/office/drawing/2014/main" val="3759846947"/>
                    </a:ext>
                  </a:extLst>
                </a:gridCol>
                <a:gridCol w="583325">
                  <a:extLst>
                    <a:ext uri="{9D8B030D-6E8A-4147-A177-3AD203B41FA5}">
                      <a16:colId xmlns:a16="http://schemas.microsoft.com/office/drawing/2014/main" val="1392892822"/>
                    </a:ext>
                  </a:extLst>
                </a:gridCol>
                <a:gridCol w="332644">
                  <a:extLst>
                    <a:ext uri="{9D8B030D-6E8A-4147-A177-3AD203B41FA5}">
                      <a16:colId xmlns:a16="http://schemas.microsoft.com/office/drawing/2014/main" val="3113835637"/>
                    </a:ext>
                  </a:extLst>
                </a:gridCol>
                <a:gridCol w="644818">
                  <a:extLst>
                    <a:ext uri="{9D8B030D-6E8A-4147-A177-3AD203B41FA5}">
                      <a16:colId xmlns:a16="http://schemas.microsoft.com/office/drawing/2014/main" val="3424033576"/>
                    </a:ext>
                  </a:extLst>
                </a:gridCol>
                <a:gridCol w="7015654">
                  <a:extLst>
                    <a:ext uri="{9D8B030D-6E8A-4147-A177-3AD203B41FA5}">
                      <a16:colId xmlns:a16="http://schemas.microsoft.com/office/drawing/2014/main" val="1636076812"/>
                    </a:ext>
                  </a:extLst>
                </a:gridCol>
              </a:tblGrid>
              <a:tr h="189161">
                <a:tc>
                  <a:txBody>
                    <a:bodyPr/>
                    <a:lstStyle/>
                    <a:p>
                      <a:pPr algn="l" fontAlgn="b"/>
                      <a:r>
                        <a:rPr lang="en-US" sz="800" b="0" i="0" u="none" strike="noStrike">
                          <a:solidFill>
                            <a:srgbClr val="000000"/>
                          </a:solidFill>
                          <a:effectLst/>
                          <a:highlight>
                            <a:srgbClr val="FFFF00"/>
                          </a:highlight>
                          <a:latin typeface="Elevance Sans Medium" pitchFamily="50" charset="0"/>
                        </a:rPr>
                        <a:t>rank</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type</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codeIndex</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contribCoef</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count</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VALUE</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DESCRIPTION</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914150980"/>
                  </a:ext>
                </a:extLst>
              </a:tr>
              <a:tr h="100886">
                <a:tc>
                  <a:txBody>
                    <a:bodyPr/>
                    <a:lstStyle/>
                    <a:p>
                      <a:pPr algn="l" fontAlgn="b"/>
                      <a:r>
                        <a:rPr lang="en-US" sz="800" b="0" i="0" u="none" strike="noStrike" dirty="0">
                          <a:solidFill>
                            <a:srgbClr val="000000"/>
                          </a:solidFill>
                          <a:effectLst/>
                          <a:latin typeface="Elevance Sans Medium" pitchFamily="50" charset="0"/>
                        </a:rPr>
                        <a:t>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67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411959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6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2687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Cervical shortening, second trimester</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93609"/>
                  </a:ext>
                </a:extLst>
              </a:tr>
              <a:tr h="189161">
                <a:tc>
                  <a:txBody>
                    <a:bodyPr/>
                    <a:lstStyle/>
                    <a:p>
                      <a:pPr algn="l" fontAlgn="b"/>
                      <a:r>
                        <a:rPr lang="en-US" sz="800" b="0" i="0" u="none" strike="noStrike" dirty="0">
                          <a:solidFill>
                            <a:srgbClr val="000000"/>
                          </a:solidFill>
                          <a:effectLst/>
                          <a:latin typeface="Elevance Sans Medium" pitchFamily="50" charset="0"/>
                        </a:rPr>
                        <a:t>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03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304029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DXX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gastrointestinal anomalies, not applicable or unspecified</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7545532"/>
                  </a:ext>
                </a:extLst>
              </a:tr>
              <a:tr h="374118">
                <a:tc>
                  <a:txBody>
                    <a:bodyPr/>
                    <a:lstStyle/>
                    <a:p>
                      <a:pPr algn="l" fontAlgn="b"/>
                      <a:r>
                        <a:rPr lang="en-US" sz="800" b="0" i="0" u="none" strike="noStrike" dirty="0">
                          <a:solidFill>
                            <a:srgbClr val="000000"/>
                          </a:solidFill>
                          <a:effectLst/>
                          <a:latin typeface="Elevance Sans Medium" pitchFamily="50" charset="0"/>
                        </a:rPr>
                        <a:t>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61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276752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2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9923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moderate level of medical decision making. When using total time on the date of the encounter for code selection, 35 minutes must be met or exceeded.</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6722547"/>
                  </a:ext>
                </a:extLst>
              </a:tr>
              <a:tr h="374118">
                <a:tc>
                  <a:txBody>
                    <a:bodyPr/>
                    <a:lstStyle/>
                    <a:p>
                      <a:pPr algn="l" fontAlgn="b"/>
                      <a:r>
                        <a:rPr lang="en-US" sz="800" b="0" i="0" u="none" strike="noStrike" dirty="0">
                          <a:solidFill>
                            <a:srgbClr val="000000"/>
                          </a:solidFill>
                          <a:effectLst/>
                          <a:latin typeface="Elevance Sans Medium" pitchFamily="50" charset="0"/>
                        </a:rPr>
                        <a:t>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61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272384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6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9923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straightforward or low level of medical decision making. When using total time on the date of the encounter for code selection, 25 minutes must be met or exceeded.</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6200912"/>
                  </a:ext>
                </a:extLst>
              </a:tr>
              <a:tr h="189161">
                <a:tc>
                  <a:txBody>
                    <a:bodyPr/>
                    <a:lstStyle/>
                    <a:p>
                      <a:pPr algn="l" fontAlgn="b"/>
                      <a:r>
                        <a:rPr lang="en-US" sz="800" b="0" i="0" u="none" strike="noStrike" dirty="0">
                          <a:solidFill>
                            <a:srgbClr val="000000"/>
                          </a:solidFill>
                          <a:effectLst/>
                          <a:latin typeface="Elevance Sans Medium" pitchFamily="50" charset="0"/>
                        </a:rPr>
                        <a:t>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02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214921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1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BXX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cardiac anomalies, not applicable or unspecified</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6202761"/>
                  </a:ext>
                </a:extLst>
              </a:tr>
              <a:tr h="100886">
                <a:tc>
                  <a:txBody>
                    <a:bodyPr/>
                    <a:lstStyle/>
                    <a:p>
                      <a:pPr algn="l" fontAlgn="b"/>
                      <a:r>
                        <a:rPr lang="en-US" sz="800" b="0" i="0" u="none" strike="noStrike" dirty="0">
                          <a:solidFill>
                            <a:srgbClr val="000000"/>
                          </a:solidFill>
                          <a:effectLst/>
                          <a:latin typeface="Elevance Sans Medium" pitchFamily="50" charset="0"/>
                        </a:rPr>
                        <a:t>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73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90723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H4732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rusen of optic disc, bilateral</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4881569"/>
                  </a:ext>
                </a:extLst>
              </a:tr>
              <a:tr h="100886">
                <a:tc>
                  <a:txBody>
                    <a:bodyPr/>
                    <a:lstStyle/>
                    <a:p>
                      <a:pPr algn="l" fontAlgn="b"/>
                      <a:r>
                        <a:rPr lang="en-US" sz="800" b="0" i="0" u="none" strike="noStrike" dirty="0">
                          <a:solidFill>
                            <a:srgbClr val="000000"/>
                          </a:solidFill>
                          <a:effectLst/>
                          <a:latin typeface="Elevance Sans Medium" pitchFamily="50" charset="0"/>
                        </a:rPr>
                        <a:t>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pi</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82493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7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ANALGESICS - NonNarcotic</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9810018"/>
                  </a:ext>
                </a:extLst>
              </a:tr>
              <a:tr h="100886">
                <a:tc>
                  <a:txBody>
                    <a:bodyPr/>
                    <a:lstStyle/>
                    <a:p>
                      <a:pPr algn="l" fontAlgn="b"/>
                      <a:r>
                        <a:rPr lang="en-US" sz="800" b="0" i="0" u="none" strike="noStrike" dirty="0">
                          <a:solidFill>
                            <a:srgbClr val="000000"/>
                          </a:solidFill>
                          <a:effectLst/>
                          <a:latin typeface="Elevance Sans Medium" pitchFamily="50" charset="0"/>
                        </a:rPr>
                        <a:t>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28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42529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9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932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Cerclage of cervix, during pregnancy; vaginal</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993351"/>
                  </a:ext>
                </a:extLst>
              </a:tr>
              <a:tr h="189161">
                <a:tc>
                  <a:txBody>
                    <a:bodyPr/>
                    <a:lstStyle/>
                    <a:p>
                      <a:pPr algn="l" fontAlgn="b"/>
                      <a:r>
                        <a:rPr lang="en-US" sz="800" b="0" i="0" u="none" strike="noStrike" dirty="0">
                          <a:solidFill>
                            <a:srgbClr val="000000"/>
                          </a:solidFill>
                          <a:effectLst/>
                          <a:latin typeface="Elevance Sans Medium" pitchFamily="50" charset="0"/>
                        </a:rPr>
                        <a:t>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97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41376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13X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suspected) chromosomal abnormality in fetus, Trisomy 21, not applicable or unspecified</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1350851"/>
                  </a:ext>
                </a:extLst>
              </a:tr>
              <a:tr h="100886">
                <a:tc>
                  <a:txBody>
                    <a:bodyPr/>
                    <a:lstStyle/>
                    <a:p>
                      <a:pPr algn="l" fontAlgn="b"/>
                      <a:r>
                        <a:rPr lang="en-US" sz="800" b="0" i="0" u="none" strike="noStrike" dirty="0">
                          <a:solidFill>
                            <a:srgbClr val="000000"/>
                          </a:solidFill>
                          <a:effectLst/>
                          <a:latin typeface="Elevance Sans Medium" pitchFamily="50" charset="0"/>
                        </a:rPr>
                        <a:t>1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pi</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38658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7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Elevance Sans Medium" pitchFamily="50" charset="0"/>
                        </a:rPr>
                        <a:t>CORTICOSTEROIDS</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4805137"/>
                  </a:ext>
                </a:extLst>
              </a:tr>
              <a:tr h="100886">
                <a:tc>
                  <a:txBody>
                    <a:bodyPr/>
                    <a:lstStyle/>
                    <a:p>
                      <a:pPr algn="l" fontAlgn="b"/>
                      <a:r>
                        <a:rPr lang="en-US" sz="800" b="0" i="0" u="none" strike="noStrike" dirty="0">
                          <a:solidFill>
                            <a:srgbClr val="000000"/>
                          </a:solidFill>
                          <a:effectLst/>
                          <a:latin typeface="Elevance Sans Medium" pitchFamily="50" charset="0"/>
                        </a:rPr>
                        <a:t>1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72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3819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6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04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win pregnancy, dichorionic/diamniotic, second trimester</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5476095"/>
                  </a:ext>
                </a:extLst>
              </a:tr>
              <a:tr h="189161">
                <a:tc>
                  <a:txBody>
                    <a:bodyPr/>
                    <a:lstStyle/>
                    <a:p>
                      <a:pPr algn="l" fontAlgn="b"/>
                      <a:r>
                        <a:rPr lang="en-US" sz="800" b="0" i="0" u="none" strike="noStrike" dirty="0">
                          <a:solidFill>
                            <a:srgbClr val="000000"/>
                          </a:solidFill>
                          <a:effectLst/>
                          <a:latin typeface="Elevance Sans Medium" pitchFamily="50" charset="0"/>
                        </a:rPr>
                        <a:t>1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14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29181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4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6592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known or suspected poor fetal growth, second trimester, not applicable or unspecified</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9786169"/>
                  </a:ext>
                </a:extLst>
              </a:tr>
              <a:tr h="100886">
                <a:tc>
                  <a:txBody>
                    <a:bodyPr/>
                    <a:lstStyle/>
                    <a:p>
                      <a:pPr algn="l" fontAlgn="b"/>
                      <a:r>
                        <a:rPr lang="en-US" sz="800" b="0" i="0" u="none" strike="noStrike" dirty="0">
                          <a:solidFill>
                            <a:srgbClr val="000000"/>
                          </a:solidFill>
                          <a:effectLst/>
                          <a:latin typeface="Elevance Sans Medium" pitchFamily="50" charset="0"/>
                        </a:rPr>
                        <a:t>1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41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12178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6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001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existing essential hypertension complicating pregnancy, second trimester</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5280"/>
                  </a:ext>
                </a:extLst>
              </a:tr>
              <a:tr h="189161">
                <a:tc>
                  <a:txBody>
                    <a:bodyPr/>
                    <a:lstStyle/>
                    <a:p>
                      <a:pPr algn="l" fontAlgn="b"/>
                      <a:r>
                        <a:rPr lang="en-US" sz="800" b="0" i="0" u="none" strike="noStrike" dirty="0">
                          <a:solidFill>
                            <a:srgbClr val="000000"/>
                          </a:solidFill>
                          <a:effectLst/>
                          <a:latin typeface="Elevance Sans Medium" pitchFamily="50" charset="0"/>
                        </a:rPr>
                        <a:t>1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04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83839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EXX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genitourinary anomalies, fetus 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4227497"/>
                  </a:ext>
                </a:extLst>
              </a:tr>
              <a:tr h="100886">
                <a:tc>
                  <a:txBody>
                    <a:bodyPr/>
                    <a:lstStyle/>
                    <a:p>
                      <a:pPr algn="l" fontAlgn="b"/>
                      <a:r>
                        <a:rPr lang="en-US" sz="800" b="0" i="0" u="none" strike="noStrike" dirty="0">
                          <a:solidFill>
                            <a:srgbClr val="000000"/>
                          </a:solidFill>
                          <a:effectLst/>
                          <a:latin typeface="Elevance Sans Medium" pitchFamily="50" charset="0"/>
                        </a:rPr>
                        <a:t>1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69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75552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8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28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Unspecified abnormal findings on antenatal screening of mother</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4296077"/>
                  </a:ext>
                </a:extLst>
              </a:tr>
              <a:tr h="100886">
                <a:tc>
                  <a:txBody>
                    <a:bodyPr/>
                    <a:lstStyle/>
                    <a:p>
                      <a:pPr algn="l" fontAlgn="b"/>
                      <a:r>
                        <a:rPr lang="en-US" sz="800" b="0" i="0" u="none" strike="noStrike" dirty="0">
                          <a:solidFill>
                            <a:srgbClr val="000000"/>
                          </a:solidFill>
                          <a:effectLst/>
                          <a:latin typeface="Elevance Sans Medium" pitchFamily="50" charset="0"/>
                        </a:rPr>
                        <a:t>1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pi</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66085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2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GESTINS</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3822919"/>
                  </a:ext>
                </a:extLst>
              </a:tr>
              <a:tr h="100886">
                <a:tc>
                  <a:txBody>
                    <a:bodyPr/>
                    <a:lstStyle/>
                    <a:p>
                      <a:pPr algn="l" fontAlgn="b"/>
                      <a:r>
                        <a:rPr lang="en-US" sz="800" b="0" i="0" u="none" strike="noStrike" dirty="0">
                          <a:solidFill>
                            <a:srgbClr val="000000"/>
                          </a:solidFill>
                          <a:effectLst/>
                          <a:latin typeface="Elevance Sans Medium" pitchFamily="50" charset="0"/>
                        </a:rPr>
                        <a:t>1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436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62356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L238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Allergic contact dermatitis due to other agents</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1456594"/>
                  </a:ext>
                </a:extLst>
              </a:tr>
              <a:tr h="100886">
                <a:tc>
                  <a:txBody>
                    <a:bodyPr/>
                    <a:lstStyle/>
                    <a:p>
                      <a:pPr algn="l" fontAlgn="b"/>
                      <a:r>
                        <a:rPr lang="en-US" sz="800" b="0" i="0" u="none" strike="noStrike" dirty="0">
                          <a:solidFill>
                            <a:srgbClr val="000000"/>
                          </a:solidFill>
                          <a:effectLst/>
                          <a:latin typeface="Elevance Sans Medium" pitchFamily="50" charset="0"/>
                        </a:rPr>
                        <a:t>1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72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56756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0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04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win pregnancy, dichorionic/diamniotic, first trimester</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1927657"/>
                  </a:ext>
                </a:extLst>
              </a:tr>
              <a:tr h="100886">
                <a:tc>
                  <a:txBody>
                    <a:bodyPr/>
                    <a:lstStyle/>
                    <a:p>
                      <a:pPr algn="l" fontAlgn="b"/>
                      <a:r>
                        <a:rPr lang="en-US" sz="800" b="0" i="0" u="none" strike="noStrike" dirty="0">
                          <a:solidFill>
                            <a:srgbClr val="000000"/>
                          </a:solidFill>
                          <a:effectLst/>
                          <a:latin typeface="Elevance Sans Medium" pitchFamily="50" charset="0"/>
                        </a:rPr>
                        <a:t>1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pi</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4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50221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ENITOURINARY AGENTS - MISCELLANEOUS</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1140289"/>
                  </a:ext>
                </a:extLst>
              </a:tr>
              <a:tr h="189161">
                <a:tc>
                  <a:txBody>
                    <a:bodyPr/>
                    <a:lstStyle/>
                    <a:p>
                      <a:pPr algn="l" fontAlgn="b"/>
                      <a:r>
                        <a:rPr lang="en-US" sz="800" b="0" i="0" u="none" strike="noStrike" dirty="0">
                          <a:solidFill>
                            <a:srgbClr val="000000"/>
                          </a:solidFill>
                          <a:effectLst/>
                          <a:latin typeface="Elevance Sans Medium" pitchFamily="50" charset="0"/>
                        </a:rPr>
                        <a:t>2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92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48434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00X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suspected) central nervous system malformation or damage in fetus, unspecified, not applicable or unspecified</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5166295"/>
                  </a:ext>
                </a:extLst>
              </a:tr>
              <a:tr h="189161">
                <a:tc>
                  <a:txBody>
                    <a:bodyPr/>
                    <a:lstStyle/>
                    <a:p>
                      <a:pPr algn="l" fontAlgn="b"/>
                      <a:r>
                        <a:rPr lang="en-US" sz="800" b="0" i="0" u="none" strike="noStrike" dirty="0">
                          <a:solidFill>
                            <a:srgbClr val="000000"/>
                          </a:solidFill>
                          <a:effectLst/>
                          <a:latin typeface="Elevance Sans Medium" pitchFamily="50" charset="0"/>
                        </a:rPr>
                        <a:t>2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73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45938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10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riplet pregnancy, unspecified number of placenta and unspecified number of amniotic sacs, unspecified trimester</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7304996"/>
                  </a:ext>
                </a:extLst>
              </a:tr>
              <a:tr h="100886">
                <a:tc>
                  <a:txBody>
                    <a:bodyPr/>
                    <a:lstStyle/>
                    <a:p>
                      <a:pPr algn="l" fontAlgn="b"/>
                      <a:r>
                        <a:rPr lang="en-US" sz="800" b="0" i="0" u="none" strike="noStrike" dirty="0">
                          <a:solidFill>
                            <a:srgbClr val="000000"/>
                          </a:solidFill>
                          <a:effectLst/>
                          <a:latin typeface="Elevance Sans Medium" pitchFamily="50" charset="0"/>
                        </a:rPr>
                        <a:t>2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213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45649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19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Z3A2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3 weeks gestation of pregnancy</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3217630"/>
                  </a:ext>
                </a:extLst>
              </a:tr>
              <a:tr h="189161">
                <a:tc>
                  <a:txBody>
                    <a:bodyPr/>
                    <a:lstStyle/>
                    <a:p>
                      <a:pPr algn="l" fontAlgn="b"/>
                      <a:r>
                        <a:rPr lang="en-US" sz="800" b="0" i="0" u="none" strike="noStrike" dirty="0">
                          <a:solidFill>
                            <a:srgbClr val="000000"/>
                          </a:solidFill>
                          <a:effectLst/>
                          <a:latin typeface="Elevance Sans Medium" pitchFamily="50" charset="0"/>
                        </a:rPr>
                        <a:t>2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69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45249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471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gnetic resonance (eg, proton) imaging, fetal, including placental and maternal pelvic imaging when performed; single or first gestation</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6943819"/>
                  </a:ext>
                </a:extLst>
              </a:tr>
              <a:tr h="100886">
                <a:tc>
                  <a:txBody>
                    <a:bodyPr/>
                    <a:lstStyle/>
                    <a:p>
                      <a:pPr algn="l" fontAlgn="b"/>
                      <a:r>
                        <a:rPr lang="en-US" sz="800" b="0" i="0" u="none" strike="noStrike" dirty="0">
                          <a:solidFill>
                            <a:srgbClr val="000000"/>
                          </a:solidFill>
                          <a:effectLst/>
                          <a:latin typeface="Elevance Sans Medium" pitchFamily="50" charset="0"/>
                        </a:rPr>
                        <a:t>2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pi</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44381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1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ANALGESICS - ANTI-INFLAMMATORY</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1890401"/>
                  </a:ext>
                </a:extLst>
              </a:tr>
              <a:tr h="100886">
                <a:tc>
                  <a:txBody>
                    <a:bodyPr/>
                    <a:lstStyle/>
                    <a:p>
                      <a:pPr algn="l" fontAlgn="b"/>
                      <a:r>
                        <a:rPr lang="en-US" sz="800" b="0" i="0" u="none" strike="noStrike" dirty="0">
                          <a:solidFill>
                            <a:srgbClr val="000000"/>
                          </a:solidFill>
                          <a:effectLst/>
                          <a:latin typeface="Elevance Sans Medium" pitchFamily="50" charset="0"/>
                        </a:rPr>
                        <a:t>2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64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42794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H4005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cular hypertension, bilateral</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8444307"/>
                  </a:ext>
                </a:extLst>
              </a:tr>
              <a:tr h="100886">
                <a:tc>
                  <a:txBody>
                    <a:bodyPr/>
                    <a:lstStyle/>
                    <a:p>
                      <a:pPr algn="l" fontAlgn="b"/>
                      <a:r>
                        <a:rPr lang="en-US" sz="800" b="0" i="0" u="none" strike="noStrike" dirty="0">
                          <a:solidFill>
                            <a:srgbClr val="000000"/>
                          </a:solidFill>
                          <a:effectLst/>
                          <a:latin typeface="Elevance Sans Medium" pitchFamily="50" charset="0"/>
                        </a:rPr>
                        <a:t>2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41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4237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4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40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Complete placenta previa NOS or without hemorrhage, second trimester</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4925450"/>
                  </a:ext>
                </a:extLst>
              </a:tr>
              <a:tr h="41548">
                <a:tc>
                  <a:txBody>
                    <a:bodyPr/>
                    <a:lstStyle/>
                    <a:p>
                      <a:pPr algn="l" fontAlgn="b"/>
                      <a:r>
                        <a:rPr lang="en-US" sz="800" b="0" i="0" u="none" strike="noStrike" dirty="0">
                          <a:solidFill>
                            <a:srgbClr val="000000"/>
                          </a:solidFill>
                          <a:effectLst/>
                          <a:latin typeface="Elevance Sans Medium" pitchFamily="50" charset="0"/>
                        </a:rPr>
                        <a:t>2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pi</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3909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ANTIPSYCHOTICS/ANTIMANIC AGENTS</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426782"/>
                  </a:ext>
                </a:extLst>
              </a:tr>
              <a:tr h="189161">
                <a:tc>
                  <a:txBody>
                    <a:bodyPr/>
                    <a:lstStyle/>
                    <a:p>
                      <a:pPr algn="l" fontAlgn="b"/>
                      <a:r>
                        <a:rPr lang="en-US" sz="800" b="0" i="0" u="none" strike="noStrike" dirty="0">
                          <a:solidFill>
                            <a:srgbClr val="000000"/>
                          </a:solidFill>
                          <a:effectLst/>
                          <a:latin typeface="Elevance Sans Medium" pitchFamily="50" charset="0"/>
                        </a:rPr>
                        <a:t>2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92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38876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00X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suspected) central nervous system malformation or damage in fetus, unspecified, fetus 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1844312"/>
                  </a:ext>
                </a:extLst>
              </a:tr>
              <a:tr h="100886">
                <a:tc>
                  <a:txBody>
                    <a:bodyPr/>
                    <a:lstStyle/>
                    <a:p>
                      <a:pPr algn="l" fontAlgn="b"/>
                      <a:r>
                        <a:rPr lang="en-US" sz="800" b="0" i="0" u="none" strike="noStrike" dirty="0">
                          <a:solidFill>
                            <a:srgbClr val="000000"/>
                          </a:solidFill>
                          <a:effectLst/>
                          <a:latin typeface="Elevance Sans Medium" pitchFamily="50" charset="0"/>
                        </a:rPr>
                        <a:t>2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20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38491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4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8267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Estriol</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2655296"/>
                  </a:ext>
                </a:extLst>
              </a:tr>
              <a:tr h="100886">
                <a:tc>
                  <a:txBody>
                    <a:bodyPr/>
                    <a:lstStyle/>
                    <a:p>
                      <a:pPr algn="l" fontAlgn="b"/>
                      <a:r>
                        <a:rPr lang="en-US" sz="800" b="0" i="0" u="none" strike="noStrike" dirty="0">
                          <a:solidFill>
                            <a:srgbClr val="000000"/>
                          </a:solidFill>
                          <a:effectLst/>
                          <a:latin typeface="Elevance Sans Medium" pitchFamily="50" charset="0"/>
                        </a:rPr>
                        <a:t>3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44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37634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9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091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Elevance Sans Medium" pitchFamily="50" charset="0"/>
                        </a:rPr>
                        <a:t>Unspecified pre-existing hypertension complicating pregnancy, second trimester</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8775854"/>
                  </a:ext>
                </a:extLst>
              </a:tr>
            </a:tbl>
          </a:graphicData>
        </a:graphic>
      </p:graphicFrame>
    </p:spTree>
    <p:extLst>
      <p:ext uri="{BB962C8B-B14F-4D97-AF65-F5344CB8AC3E}">
        <p14:creationId xmlns:p14="http://schemas.microsoft.com/office/powerpoint/2010/main" val="3616240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101E0-D49E-4B2E-5CAB-5F6DC738FFCA}"/>
              </a:ext>
            </a:extLst>
          </p:cNvPr>
          <p:cNvSpPr>
            <a:spLocks noGrp="1"/>
          </p:cNvSpPr>
          <p:nvPr>
            <p:ph type="title"/>
          </p:nvPr>
        </p:nvSpPr>
        <p:spPr/>
        <p:txBody>
          <a:bodyPr/>
          <a:lstStyle/>
          <a:p>
            <a:r>
              <a:rPr lang="en-US" dirty="0"/>
              <a:t>Top 30 Risk Increasing Medical Codes (based on test data – IHAN3041 model, count &gt;=5 )</a:t>
            </a:r>
          </a:p>
        </p:txBody>
      </p:sp>
      <p:graphicFrame>
        <p:nvGraphicFramePr>
          <p:cNvPr id="5" name="Content Placeholder 4">
            <a:extLst>
              <a:ext uri="{FF2B5EF4-FFF2-40B4-BE49-F238E27FC236}">
                <a16:creationId xmlns:a16="http://schemas.microsoft.com/office/drawing/2014/main" id="{BAC5014B-7829-624B-C9EC-38DB81BDC764}"/>
              </a:ext>
            </a:extLst>
          </p:cNvPr>
          <p:cNvGraphicFramePr>
            <a:graphicFrameLocks noGrp="1"/>
          </p:cNvGraphicFramePr>
          <p:nvPr>
            <p:ph idx="1"/>
            <p:extLst>
              <p:ext uri="{D42A27DB-BD31-4B8C-83A1-F6EECF244321}">
                <p14:modId xmlns:p14="http://schemas.microsoft.com/office/powerpoint/2010/main" val="4242116466"/>
              </p:ext>
            </p:extLst>
          </p:nvPr>
        </p:nvGraphicFramePr>
        <p:xfrm>
          <a:off x="1409700" y="1371601"/>
          <a:ext cx="9372597" cy="5216330"/>
        </p:xfrm>
        <a:graphic>
          <a:graphicData uri="http://schemas.openxmlformats.org/drawingml/2006/table">
            <a:tbl>
              <a:tblPr/>
              <a:tblGrid>
                <a:gridCol w="383313">
                  <a:extLst>
                    <a:ext uri="{9D8B030D-6E8A-4147-A177-3AD203B41FA5}">
                      <a16:colId xmlns:a16="http://schemas.microsoft.com/office/drawing/2014/main" val="1566781450"/>
                    </a:ext>
                  </a:extLst>
                </a:gridCol>
                <a:gridCol w="383313">
                  <a:extLst>
                    <a:ext uri="{9D8B030D-6E8A-4147-A177-3AD203B41FA5}">
                      <a16:colId xmlns:a16="http://schemas.microsoft.com/office/drawing/2014/main" val="665779967"/>
                    </a:ext>
                  </a:extLst>
                </a:gridCol>
                <a:gridCol w="704801">
                  <a:extLst>
                    <a:ext uri="{9D8B030D-6E8A-4147-A177-3AD203B41FA5}">
                      <a16:colId xmlns:a16="http://schemas.microsoft.com/office/drawing/2014/main" val="235377034"/>
                    </a:ext>
                  </a:extLst>
                </a:gridCol>
                <a:gridCol w="766624">
                  <a:extLst>
                    <a:ext uri="{9D8B030D-6E8A-4147-A177-3AD203B41FA5}">
                      <a16:colId xmlns:a16="http://schemas.microsoft.com/office/drawing/2014/main" val="2147874390"/>
                    </a:ext>
                  </a:extLst>
                </a:gridCol>
                <a:gridCol w="420405">
                  <a:extLst>
                    <a:ext uri="{9D8B030D-6E8A-4147-A177-3AD203B41FA5}">
                      <a16:colId xmlns:a16="http://schemas.microsoft.com/office/drawing/2014/main" val="1672274142"/>
                    </a:ext>
                  </a:extLst>
                </a:gridCol>
                <a:gridCol w="618244">
                  <a:extLst>
                    <a:ext uri="{9D8B030D-6E8A-4147-A177-3AD203B41FA5}">
                      <a16:colId xmlns:a16="http://schemas.microsoft.com/office/drawing/2014/main" val="2144533003"/>
                    </a:ext>
                  </a:extLst>
                </a:gridCol>
                <a:gridCol w="6095897">
                  <a:extLst>
                    <a:ext uri="{9D8B030D-6E8A-4147-A177-3AD203B41FA5}">
                      <a16:colId xmlns:a16="http://schemas.microsoft.com/office/drawing/2014/main" val="1773342734"/>
                    </a:ext>
                  </a:extLst>
                </a:gridCol>
              </a:tblGrid>
              <a:tr h="131519">
                <a:tc>
                  <a:txBody>
                    <a:bodyPr/>
                    <a:lstStyle/>
                    <a:p>
                      <a:pPr algn="l" fontAlgn="b"/>
                      <a:r>
                        <a:rPr lang="en-US" sz="800" b="0" i="0" u="none" strike="noStrike">
                          <a:solidFill>
                            <a:srgbClr val="000000"/>
                          </a:solidFill>
                          <a:effectLst/>
                          <a:highlight>
                            <a:srgbClr val="FFFF00"/>
                          </a:highlight>
                          <a:latin typeface="Elevance Sans Medium" pitchFamily="50" charset="0"/>
                        </a:rPr>
                        <a:t>rank</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type</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codeIndex</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contribCoef</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count</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VALUE</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highlight>
                            <a:srgbClr val="FFFF00"/>
                          </a:highlight>
                          <a:latin typeface="Elevance Sans Medium" pitchFamily="50" charset="0"/>
                        </a:rPr>
                        <a:t>DESCRIPTION</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71039010"/>
                  </a:ext>
                </a:extLst>
              </a:tr>
              <a:tr h="194491">
                <a:tc>
                  <a:txBody>
                    <a:bodyPr/>
                    <a:lstStyle/>
                    <a:p>
                      <a:pPr algn="l" fontAlgn="b"/>
                      <a:r>
                        <a:rPr lang="en-US" sz="800" b="0" i="0" u="none" strike="noStrike" dirty="0">
                          <a:solidFill>
                            <a:srgbClr val="000000"/>
                          </a:solidFill>
                          <a:effectLst/>
                          <a:latin typeface="Elevance Sans Medium" pitchFamily="50" charset="0"/>
                        </a:rPr>
                        <a:t>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03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77784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DXX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gastrointestinal anomalies, not applicable or unspecifi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4253707"/>
                  </a:ext>
                </a:extLst>
              </a:tr>
              <a:tr h="131519">
                <a:tc>
                  <a:txBody>
                    <a:bodyPr/>
                    <a:lstStyle/>
                    <a:p>
                      <a:pPr algn="l" fontAlgn="b"/>
                      <a:r>
                        <a:rPr lang="en-US" sz="800" b="0" i="0" u="none" strike="noStrike" dirty="0">
                          <a:solidFill>
                            <a:srgbClr val="000000"/>
                          </a:solidFill>
                          <a:effectLst/>
                          <a:latin typeface="Elevance Sans Medium" pitchFamily="50" charset="0"/>
                        </a:rPr>
                        <a:t>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48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71440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41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Severe pre-eclampsia, thir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073367"/>
                  </a:ext>
                </a:extLst>
              </a:tr>
              <a:tr h="131519">
                <a:tc>
                  <a:txBody>
                    <a:bodyPr/>
                    <a:lstStyle/>
                    <a:p>
                      <a:pPr algn="l" fontAlgn="b"/>
                      <a:r>
                        <a:rPr lang="en-US" sz="800" b="0" i="0" u="none" strike="noStrike" dirty="0">
                          <a:solidFill>
                            <a:srgbClr val="000000"/>
                          </a:solidFill>
                          <a:effectLst/>
                          <a:latin typeface="Elevance Sans Medium" pitchFamily="50" charset="0"/>
                        </a:rPr>
                        <a:t>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67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48863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6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2687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Cervical shortening,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9740310"/>
                  </a:ext>
                </a:extLst>
              </a:tr>
              <a:tr h="258899">
                <a:tc>
                  <a:txBody>
                    <a:bodyPr/>
                    <a:lstStyle/>
                    <a:p>
                      <a:pPr algn="l" fontAlgn="b"/>
                      <a:r>
                        <a:rPr lang="en-US" sz="800" b="0" i="0" u="none" strike="noStrike" dirty="0">
                          <a:solidFill>
                            <a:srgbClr val="000000"/>
                          </a:solidFill>
                          <a:effectLst/>
                          <a:latin typeface="Elevance Sans Medium" pitchFamily="50" charset="0"/>
                        </a:rPr>
                        <a:t>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36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48222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2919</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term premature rupture of membranes, unspecified as to length of time between rupture and onset of labor, unspecifie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1686156"/>
                  </a:ext>
                </a:extLst>
              </a:tr>
              <a:tr h="194491">
                <a:tc>
                  <a:txBody>
                    <a:bodyPr/>
                    <a:lstStyle/>
                    <a:p>
                      <a:pPr algn="l" fontAlgn="b"/>
                      <a:r>
                        <a:rPr lang="en-US" sz="800" b="0" i="0" u="none" strike="noStrike" dirty="0">
                          <a:solidFill>
                            <a:srgbClr val="000000"/>
                          </a:solidFill>
                          <a:effectLst/>
                          <a:latin typeface="Elevance Sans Medium" pitchFamily="50" charset="0"/>
                        </a:rPr>
                        <a:t>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029</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46231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1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BXX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cardiac anomalies, not applicable or unspecifi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0664677"/>
                  </a:ext>
                </a:extLst>
              </a:tr>
              <a:tr h="386280">
                <a:tc>
                  <a:txBody>
                    <a:bodyPr/>
                    <a:lstStyle/>
                    <a:p>
                      <a:pPr algn="l" fontAlgn="b"/>
                      <a:r>
                        <a:rPr lang="en-US" sz="800" b="0" i="0" u="none" strike="noStrike" dirty="0">
                          <a:solidFill>
                            <a:srgbClr val="000000"/>
                          </a:solidFill>
                          <a:effectLst/>
                          <a:latin typeface="Elevance Sans Medium" pitchFamily="50" charset="0"/>
                        </a:rPr>
                        <a:t>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61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44103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2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9923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moderate level of medical decision making. When using total time on the date of the encounter for code selection, 35 minutes must be met or exceed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7200718"/>
                  </a:ext>
                </a:extLst>
              </a:tr>
              <a:tr h="131519">
                <a:tc>
                  <a:txBody>
                    <a:bodyPr/>
                    <a:lstStyle/>
                    <a:p>
                      <a:pPr algn="l" fontAlgn="b"/>
                      <a:r>
                        <a:rPr lang="en-US" sz="800" b="0" i="0" u="none" strike="noStrike" dirty="0">
                          <a:solidFill>
                            <a:srgbClr val="000000"/>
                          </a:solidFill>
                          <a:effectLst/>
                          <a:latin typeface="Elevance Sans Medium" pitchFamily="50" charset="0"/>
                        </a:rPr>
                        <a:t>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46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40044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600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term labor without delivery,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3707850"/>
                  </a:ext>
                </a:extLst>
              </a:tr>
              <a:tr h="194491">
                <a:tc>
                  <a:txBody>
                    <a:bodyPr/>
                    <a:lstStyle/>
                    <a:p>
                      <a:pPr algn="l" fontAlgn="b"/>
                      <a:r>
                        <a:rPr lang="en-US" sz="800" b="0" i="0" u="none" strike="noStrike" dirty="0">
                          <a:solidFill>
                            <a:srgbClr val="000000"/>
                          </a:solidFill>
                          <a:effectLst/>
                          <a:latin typeface="Elevance Sans Medium" pitchFamily="50" charset="0"/>
                        </a:rPr>
                        <a:t>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73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24585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9</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10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riplet pregnancy, unspecified number of placenta and unspecified number of amniotic sacs,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2736698"/>
                  </a:ext>
                </a:extLst>
              </a:tr>
              <a:tr h="194491">
                <a:tc>
                  <a:txBody>
                    <a:bodyPr/>
                    <a:lstStyle/>
                    <a:p>
                      <a:pPr algn="l" fontAlgn="b"/>
                      <a:r>
                        <a:rPr lang="en-US" sz="800" b="0" i="0" u="none" strike="noStrike" dirty="0">
                          <a:solidFill>
                            <a:srgbClr val="000000"/>
                          </a:solidFill>
                          <a:effectLst/>
                          <a:latin typeface="Elevance Sans Medium" pitchFamily="50" charset="0"/>
                        </a:rPr>
                        <a:t>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95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22086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09X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suspected) other central nervous system malformation or damage in fetus, not applicable or unspecifi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0878847"/>
                  </a:ext>
                </a:extLst>
              </a:tr>
              <a:tr h="194491">
                <a:tc>
                  <a:txBody>
                    <a:bodyPr/>
                    <a:lstStyle/>
                    <a:p>
                      <a:pPr algn="l" fontAlgn="b"/>
                      <a:r>
                        <a:rPr lang="en-US" sz="800" b="0" i="0" u="none" strike="noStrike" dirty="0">
                          <a:solidFill>
                            <a:srgbClr val="000000"/>
                          </a:solidFill>
                          <a:effectLst/>
                          <a:latin typeface="Elevance Sans Medium" pitchFamily="50" charset="0"/>
                        </a:rPr>
                        <a:t>1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97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20726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3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13X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suspected) chromosomal abnormality in fetus, Trisomy 21, not applicable or unspecifi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3620694"/>
                  </a:ext>
                </a:extLst>
              </a:tr>
              <a:tr h="131519">
                <a:tc>
                  <a:txBody>
                    <a:bodyPr/>
                    <a:lstStyle/>
                    <a:p>
                      <a:pPr algn="l" fontAlgn="b"/>
                      <a:r>
                        <a:rPr lang="en-US" sz="800" b="0" i="0" u="none" strike="noStrike" dirty="0">
                          <a:solidFill>
                            <a:srgbClr val="000000"/>
                          </a:solidFill>
                          <a:effectLst/>
                          <a:latin typeface="Elevance Sans Medium" pitchFamily="50" charset="0"/>
                        </a:rPr>
                        <a:t>1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41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20205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6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001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existing essential hypertension complicating pregnancy,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69462560"/>
                  </a:ext>
                </a:extLst>
              </a:tr>
              <a:tr h="131519">
                <a:tc>
                  <a:txBody>
                    <a:bodyPr/>
                    <a:lstStyle/>
                    <a:p>
                      <a:pPr algn="l" fontAlgn="b"/>
                      <a:r>
                        <a:rPr lang="en-US" sz="800" b="0" i="0" u="none" strike="noStrike" dirty="0">
                          <a:solidFill>
                            <a:srgbClr val="000000"/>
                          </a:solidFill>
                          <a:effectLst/>
                          <a:latin typeface="Elevance Sans Medium" pitchFamily="50" charset="0"/>
                        </a:rPr>
                        <a:t>1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44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9944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9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091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Unspecified pre-existing hypertension complicating pregnancy,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65907336"/>
                  </a:ext>
                </a:extLst>
              </a:tr>
              <a:tr h="131519">
                <a:tc>
                  <a:txBody>
                    <a:bodyPr/>
                    <a:lstStyle/>
                    <a:p>
                      <a:pPr algn="l" fontAlgn="b"/>
                      <a:r>
                        <a:rPr lang="en-US" sz="800" b="0" i="0" u="none" strike="noStrike" dirty="0">
                          <a:solidFill>
                            <a:srgbClr val="000000"/>
                          </a:solidFill>
                          <a:effectLst/>
                          <a:latin typeface="Elevance Sans Medium" pitchFamily="50" charset="0"/>
                        </a:rPr>
                        <a:t>1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01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8891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4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8XX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us 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7518818"/>
                  </a:ext>
                </a:extLst>
              </a:tr>
              <a:tr h="194491">
                <a:tc>
                  <a:txBody>
                    <a:bodyPr/>
                    <a:lstStyle/>
                    <a:p>
                      <a:pPr algn="l" fontAlgn="b"/>
                      <a:r>
                        <a:rPr lang="en-US" sz="800" b="0" i="0" u="none" strike="noStrike" dirty="0">
                          <a:solidFill>
                            <a:srgbClr val="000000"/>
                          </a:solidFill>
                          <a:effectLst/>
                          <a:latin typeface="Elevance Sans Medium" pitchFamily="50" charset="0"/>
                        </a:rPr>
                        <a:t>1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28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5644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4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03XX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olyhydramnios, third trimester, not applicable or unspecifi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9179252"/>
                  </a:ext>
                </a:extLst>
              </a:tr>
              <a:tr h="131519">
                <a:tc>
                  <a:txBody>
                    <a:bodyPr/>
                    <a:lstStyle/>
                    <a:p>
                      <a:pPr algn="l" fontAlgn="b"/>
                      <a:r>
                        <a:rPr lang="en-US" sz="800" b="0" i="0" u="none" strike="noStrike" dirty="0">
                          <a:solidFill>
                            <a:srgbClr val="000000"/>
                          </a:solidFill>
                          <a:effectLst/>
                          <a:latin typeface="Elevance Sans Medium" pitchFamily="50" charset="0"/>
                        </a:rPr>
                        <a:t>1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41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4358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4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40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Complete placenta previa NOS or without hemorrhage,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4088729"/>
                  </a:ext>
                </a:extLst>
              </a:tr>
              <a:tr h="194491">
                <a:tc>
                  <a:txBody>
                    <a:bodyPr/>
                    <a:lstStyle/>
                    <a:p>
                      <a:pPr algn="l" fontAlgn="b"/>
                      <a:r>
                        <a:rPr lang="en-US" sz="800" b="0" i="0" u="none" strike="noStrike" dirty="0">
                          <a:solidFill>
                            <a:srgbClr val="000000"/>
                          </a:solidFill>
                          <a:effectLst/>
                          <a:latin typeface="Elevance Sans Medium" pitchFamily="50" charset="0"/>
                        </a:rPr>
                        <a:t>1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14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430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4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6592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known or suspected poor fetal growth, second trimester, not applicable or unspecifi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816054"/>
                  </a:ext>
                </a:extLst>
              </a:tr>
              <a:tr h="131519">
                <a:tc>
                  <a:txBody>
                    <a:bodyPr/>
                    <a:lstStyle/>
                    <a:p>
                      <a:pPr algn="l" fontAlgn="b"/>
                      <a:r>
                        <a:rPr lang="en-US" sz="800" b="0" i="0" u="none" strike="noStrike" dirty="0">
                          <a:solidFill>
                            <a:srgbClr val="000000"/>
                          </a:solidFill>
                          <a:effectLst/>
                          <a:latin typeface="Elevance Sans Medium" pitchFamily="50" charset="0"/>
                        </a:rPr>
                        <a:t>1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28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423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9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932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Cerclage of cervix, during pregnancy; vaginal</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3890636"/>
                  </a:ext>
                </a:extLst>
              </a:tr>
              <a:tr h="194491">
                <a:tc>
                  <a:txBody>
                    <a:bodyPr/>
                    <a:lstStyle/>
                    <a:p>
                      <a:pPr algn="l" fontAlgn="b"/>
                      <a:r>
                        <a:rPr lang="en-US" sz="800" b="0" i="0" u="none" strike="noStrike" dirty="0">
                          <a:solidFill>
                            <a:srgbClr val="000000"/>
                          </a:solidFill>
                          <a:effectLst/>
                          <a:latin typeface="Elevance Sans Medium" pitchFamily="50" charset="0"/>
                        </a:rPr>
                        <a:t>1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53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3589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694XX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Labor and delivery complicated by vasa previa, not applicable or unspecifi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0542437"/>
                  </a:ext>
                </a:extLst>
              </a:tr>
              <a:tr h="131519">
                <a:tc>
                  <a:txBody>
                    <a:bodyPr/>
                    <a:lstStyle/>
                    <a:p>
                      <a:pPr algn="l" fontAlgn="b"/>
                      <a:r>
                        <a:rPr lang="en-US" sz="800" b="0" i="0" u="none" strike="noStrike" dirty="0">
                          <a:solidFill>
                            <a:srgbClr val="000000"/>
                          </a:solidFill>
                          <a:effectLst/>
                          <a:latin typeface="Elevance Sans Medium" pitchFamily="50" charset="0"/>
                        </a:rPr>
                        <a:t>1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469</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2894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8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3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estational [pregnancy-induced] hypertension without significant proteinuria,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5270987"/>
                  </a:ext>
                </a:extLst>
              </a:tr>
              <a:tr h="131519">
                <a:tc>
                  <a:txBody>
                    <a:bodyPr/>
                    <a:lstStyle/>
                    <a:p>
                      <a:pPr algn="l" fontAlgn="b"/>
                      <a:r>
                        <a:rPr lang="en-US" sz="800" b="0" i="0" u="none" strike="noStrike" dirty="0">
                          <a:solidFill>
                            <a:srgbClr val="000000"/>
                          </a:solidFill>
                          <a:effectLst/>
                          <a:latin typeface="Elevance Sans Medium" pitchFamily="50" charset="0"/>
                        </a:rPr>
                        <a:t>2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499</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21814</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4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6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Unspecified maternal hypertension,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4155581"/>
                  </a:ext>
                </a:extLst>
              </a:tr>
              <a:tr h="131519">
                <a:tc>
                  <a:txBody>
                    <a:bodyPr/>
                    <a:lstStyle/>
                    <a:p>
                      <a:pPr algn="l" fontAlgn="b"/>
                      <a:r>
                        <a:rPr lang="en-US" sz="800" b="0" i="0" u="none" strike="noStrike" dirty="0">
                          <a:solidFill>
                            <a:srgbClr val="000000"/>
                          </a:solidFill>
                          <a:effectLst/>
                          <a:latin typeface="Elevance Sans Medium" pitchFamily="50" charset="0"/>
                        </a:rPr>
                        <a:t>21</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74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165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13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riplet pregnancy, trichorionic/triamniotic,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0747857"/>
                  </a:ext>
                </a:extLst>
              </a:tr>
              <a:tr h="194491">
                <a:tc>
                  <a:txBody>
                    <a:bodyPr/>
                    <a:lstStyle/>
                    <a:p>
                      <a:pPr algn="l" fontAlgn="b"/>
                      <a:r>
                        <a:rPr lang="en-US" sz="800" b="0" i="0" u="none" strike="noStrike" dirty="0">
                          <a:solidFill>
                            <a:srgbClr val="000000"/>
                          </a:solidFill>
                          <a:effectLst/>
                          <a:latin typeface="Elevance Sans Medium" pitchFamily="50" charset="0"/>
                        </a:rPr>
                        <a:t>22</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709</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1144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1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00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win pregnancy, unspecified number of placenta and unspecified number of amniotic sacs, first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1155484"/>
                  </a:ext>
                </a:extLst>
              </a:tr>
              <a:tr h="131519">
                <a:tc>
                  <a:txBody>
                    <a:bodyPr/>
                    <a:lstStyle/>
                    <a:p>
                      <a:pPr algn="l" fontAlgn="b"/>
                      <a:r>
                        <a:rPr lang="en-US" sz="800" b="0" i="0" u="none" strike="noStrike" dirty="0">
                          <a:solidFill>
                            <a:srgbClr val="000000"/>
                          </a:solidFill>
                          <a:effectLst/>
                          <a:latin typeface="Elevance Sans Medium" pitchFamily="50" charset="0"/>
                        </a:rPr>
                        <a:t>23</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72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0819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6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04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win pregnancy, dichorionic/diamniotic,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04884362"/>
                  </a:ext>
                </a:extLst>
              </a:tr>
              <a:tr h="258899">
                <a:tc>
                  <a:txBody>
                    <a:bodyPr/>
                    <a:lstStyle/>
                    <a:p>
                      <a:pPr algn="l" fontAlgn="b"/>
                      <a:r>
                        <a:rPr lang="en-US" sz="800" b="0" i="0" u="none" strike="noStrike" dirty="0">
                          <a:solidFill>
                            <a:srgbClr val="000000"/>
                          </a:solidFill>
                          <a:effectLst/>
                          <a:latin typeface="Elevance Sans Medium" pitchFamily="50" charset="0"/>
                        </a:rPr>
                        <a:t>24</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704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0283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FXX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musculoskeletal anomalies of trunk, not applicable or unspecified</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2950720"/>
                  </a:ext>
                </a:extLst>
              </a:tr>
              <a:tr h="131519">
                <a:tc>
                  <a:txBody>
                    <a:bodyPr/>
                    <a:lstStyle/>
                    <a:p>
                      <a:pPr algn="l" fontAlgn="b"/>
                      <a:r>
                        <a:rPr lang="en-US" sz="800" b="0" i="0" u="none" strike="noStrike" dirty="0">
                          <a:solidFill>
                            <a:srgbClr val="000000"/>
                          </a:solidFill>
                          <a:effectLst/>
                          <a:latin typeface="Elevance Sans Medium" pitchFamily="50" charset="0"/>
                        </a:rPr>
                        <a:t>25</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269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10131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Z98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Arthrodesis status</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7796226"/>
                  </a:ext>
                </a:extLst>
              </a:tr>
              <a:tr h="131519">
                <a:tc>
                  <a:txBody>
                    <a:bodyPr/>
                    <a:lstStyle/>
                    <a:p>
                      <a:pPr algn="l" fontAlgn="b"/>
                      <a:r>
                        <a:rPr lang="en-US" sz="800" b="0" i="0" u="none" strike="noStrike" dirty="0">
                          <a:solidFill>
                            <a:srgbClr val="000000"/>
                          </a:solidFill>
                          <a:effectLst/>
                          <a:latin typeface="Elevance Sans Medium" pitchFamily="50" charset="0"/>
                        </a:rPr>
                        <a:t>26</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87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98499</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2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40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unspecified congenital malformation of uterus, first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8659546"/>
                  </a:ext>
                </a:extLst>
              </a:tr>
              <a:tr h="131519">
                <a:tc>
                  <a:txBody>
                    <a:bodyPr/>
                    <a:lstStyle/>
                    <a:p>
                      <a:pPr algn="l" fontAlgn="b"/>
                      <a:r>
                        <a:rPr lang="en-US" sz="800" b="0" i="0" u="none" strike="noStrike" dirty="0">
                          <a:solidFill>
                            <a:srgbClr val="000000"/>
                          </a:solidFill>
                          <a:effectLst/>
                          <a:latin typeface="Elevance Sans Medium" pitchFamily="50" charset="0"/>
                        </a:rPr>
                        <a:t>27</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36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9805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5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0929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Supervision of pregnancy with other poor reproductive or obstetric history,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5788722"/>
                  </a:ext>
                </a:extLst>
              </a:tr>
              <a:tr h="194491">
                <a:tc>
                  <a:txBody>
                    <a:bodyPr/>
                    <a:lstStyle/>
                    <a:p>
                      <a:pPr algn="l" fontAlgn="b"/>
                      <a:r>
                        <a:rPr lang="en-US" sz="800" b="0" i="0" u="none" strike="noStrike" dirty="0">
                          <a:solidFill>
                            <a:srgbClr val="000000"/>
                          </a:solidFill>
                          <a:effectLst/>
                          <a:latin typeface="Elevance Sans Medium" pitchFamily="50" charset="0"/>
                        </a:rPr>
                        <a:t>28</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928</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8473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00X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suspected) central nervous system malformation or damage in fetus, unspecified, fetus 1</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8363032"/>
                  </a:ext>
                </a:extLst>
              </a:tr>
              <a:tr h="131519">
                <a:tc>
                  <a:txBody>
                    <a:bodyPr/>
                    <a:lstStyle/>
                    <a:p>
                      <a:pPr algn="l" fontAlgn="b"/>
                      <a:r>
                        <a:rPr lang="en-US" sz="800" b="0" i="0" u="none" strike="noStrike" dirty="0">
                          <a:solidFill>
                            <a:srgbClr val="000000"/>
                          </a:solidFill>
                          <a:effectLst/>
                          <a:latin typeface="Elevance Sans Medium" pitchFamily="50" charset="0"/>
                        </a:rPr>
                        <a:t>29</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377</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84505</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666</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0951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Supervision of elderly primigravida, second trimester</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0015116"/>
                  </a:ext>
                </a:extLst>
              </a:tr>
              <a:tr h="131519">
                <a:tc>
                  <a:txBody>
                    <a:bodyPr/>
                    <a:lstStyle/>
                    <a:p>
                      <a:pPr algn="l" fontAlgn="b"/>
                      <a:r>
                        <a:rPr lang="en-US" sz="800" b="0" i="0" u="none" strike="noStrike" dirty="0">
                          <a:solidFill>
                            <a:srgbClr val="000000"/>
                          </a:solidFill>
                          <a:effectLst/>
                          <a:latin typeface="Elevance Sans Medium" pitchFamily="50" charset="0"/>
                        </a:rPr>
                        <a:t>30</a:t>
                      </a:r>
                    </a:p>
                  </a:txBody>
                  <a:tcPr marL="3979" marR="3979" marT="39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213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0.079902</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1190</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Z3A23</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Elevance Sans Medium" pitchFamily="50" charset="0"/>
                        </a:rPr>
                        <a:t>23 weeks gestation of pregnancy</a:t>
                      </a:r>
                    </a:p>
                  </a:txBody>
                  <a:tcPr marL="3961" marR="3961" marT="396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0627159"/>
                  </a:ext>
                </a:extLst>
              </a:tr>
            </a:tbl>
          </a:graphicData>
        </a:graphic>
      </p:graphicFrame>
    </p:spTree>
    <p:extLst>
      <p:ext uri="{BB962C8B-B14F-4D97-AF65-F5344CB8AC3E}">
        <p14:creationId xmlns:p14="http://schemas.microsoft.com/office/powerpoint/2010/main" val="33851065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51D4F-9D4C-08AF-6781-537F80B85A91}"/>
              </a:ext>
            </a:extLst>
          </p:cNvPr>
          <p:cNvSpPr>
            <a:spLocks noGrp="1"/>
          </p:cNvSpPr>
          <p:nvPr>
            <p:ph type="title"/>
          </p:nvPr>
        </p:nvSpPr>
        <p:spPr/>
        <p:txBody>
          <a:bodyPr/>
          <a:lstStyle/>
          <a:p>
            <a:r>
              <a:rPr lang="en-US" dirty="0"/>
              <a:t>IHAN4041 example</a:t>
            </a:r>
          </a:p>
        </p:txBody>
      </p:sp>
      <p:graphicFrame>
        <p:nvGraphicFramePr>
          <p:cNvPr id="5" name="Content Placeholder 4">
            <a:extLst>
              <a:ext uri="{FF2B5EF4-FFF2-40B4-BE49-F238E27FC236}">
                <a16:creationId xmlns:a16="http://schemas.microsoft.com/office/drawing/2014/main" id="{016083DD-DE9B-F3B3-F919-5578EA760E46}"/>
              </a:ext>
            </a:extLst>
          </p:cNvPr>
          <p:cNvGraphicFramePr>
            <a:graphicFrameLocks noGrp="1"/>
          </p:cNvGraphicFramePr>
          <p:nvPr>
            <p:ph idx="1"/>
          </p:nvPr>
        </p:nvGraphicFramePr>
        <p:xfrm>
          <a:off x="457200" y="1574801"/>
          <a:ext cx="11293475" cy="4739088"/>
        </p:xfrm>
        <a:graphic>
          <a:graphicData uri="http://schemas.openxmlformats.org/drawingml/2006/table">
            <a:tbl>
              <a:tblPr/>
              <a:tblGrid>
                <a:gridCol w="2033451">
                  <a:extLst>
                    <a:ext uri="{9D8B030D-6E8A-4147-A177-3AD203B41FA5}">
                      <a16:colId xmlns:a16="http://schemas.microsoft.com/office/drawing/2014/main" val="4082555888"/>
                    </a:ext>
                  </a:extLst>
                </a:gridCol>
                <a:gridCol w="396262">
                  <a:extLst>
                    <a:ext uri="{9D8B030D-6E8A-4147-A177-3AD203B41FA5}">
                      <a16:colId xmlns:a16="http://schemas.microsoft.com/office/drawing/2014/main" val="2840591944"/>
                    </a:ext>
                  </a:extLst>
                </a:gridCol>
                <a:gridCol w="500542">
                  <a:extLst>
                    <a:ext uri="{9D8B030D-6E8A-4147-A177-3AD203B41FA5}">
                      <a16:colId xmlns:a16="http://schemas.microsoft.com/office/drawing/2014/main" val="1710781350"/>
                    </a:ext>
                  </a:extLst>
                </a:gridCol>
                <a:gridCol w="583965">
                  <a:extLst>
                    <a:ext uri="{9D8B030D-6E8A-4147-A177-3AD203B41FA5}">
                      <a16:colId xmlns:a16="http://schemas.microsoft.com/office/drawing/2014/main" val="1986295537"/>
                    </a:ext>
                  </a:extLst>
                </a:gridCol>
                <a:gridCol w="709101">
                  <a:extLst>
                    <a:ext uri="{9D8B030D-6E8A-4147-A177-3AD203B41FA5}">
                      <a16:colId xmlns:a16="http://schemas.microsoft.com/office/drawing/2014/main" val="3623099127"/>
                    </a:ext>
                  </a:extLst>
                </a:gridCol>
                <a:gridCol w="521398">
                  <a:extLst>
                    <a:ext uri="{9D8B030D-6E8A-4147-A177-3AD203B41FA5}">
                      <a16:colId xmlns:a16="http://schemas.microsoft.com/office/drawing/2014/main" val="965668052"/>
                    </a:ext>
                  </a:extLst>
                </a:gridCol>
                <a:gridCol w="500542">
                  <a:extLst>
                    <a:ext uri="{9D8B030D-6E8A-4147-A177-3AD203B41FA5}">
                      <a16:colId xmlns:a16="http://schemas.microsoft.com/office/drawing/2014/main" val="2452163197"/>
                    </a:ext>
                  </a:extLst>
                </a:gridCol>
                <a:gridCol w="1491198">
                  <a:extLst>
                    <a:ext uri="{9D8B030D-6E8A-4147-A177-3AD203B41FA5}">
                      <a16:colId xmlns:a16="http://schemas.microsoft.com/office/drawing/2014/main" val="2593388224"/>
                    </a:ext>
                  </a:extLst>
                </a:gridCol>
                <a:gridCol w="4557016">
                  <a:extLst>
                    <a:ext uri="{9D8B030D-6E8A-4147-A177-3AD203B41FA5}">
                      <a16:colId xmlns:a16="http://schemas.microsoft.com/office/drawing/2014/main" val="3114518693"/>
                    </a:ext>
                  </a:extLst>
                </a:gridCol>
              </a:tblGrid>
              <a:tr h="155995">
                <a:tc>
                  <a:txBody>
                    <a:bodyPr/>
                    <a:lstStyle/>
                    <a:p>
                      <a:pPr algn="l" fontAlgn="b"/>
                      <a:r>
                        <a:rPr lang="en-US" sz="900" b="0" i="0" u="none" strike="noStrike" dirty="0" err="1">
                          <a:solidFill>
                            <a:srgbClr val="000000"/>
                          </a:solidFill>
                          <a:effectLst/>
                          <a:highlight>
                            <a:srgbClr val="FFFF00"/>
                          </a:highlight>
                          <a:latin typeface="Elevance Sans Medium" pitchFamily="50" charset="0"/>
                        </a:rPr>
                        <a:t>mcid</a:t>
                      </a:r>
                      <a:endParaRPr lang="en-US" sz="900" b="0" i="0" u="none" strike="noStrike" dirty="0">
                        <a:solidFill>
                          <a:srgbClr val="000000"/>
                        </a:solidFill>
                        <a:effectLst/>
                        <a:highlight>
                          <a:srgbClr val="FFFF00"/>
                        </a:highlight>
                        <a:latin typeface="Elevance Sans Medium" pitchFamily="50" charset="0"/>
                      </a:endParaRP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y_ob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y_score</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do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ontribCoef</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type</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value</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ode</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highlight>
                            <a:srgbClr val="FFFF00"/>
                          </a:highlight>
                          <a:latin typeface="Elevance Sans Medium" pitchFamily="50" charset="0"/>
                        </a:rPr>
                        <a:t>cd_des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579443506"/>
                  </a:ext>
                </a:extLst>
              </a:tr>
              <a:tr h="155995">
                <a:tc>
                  <a:txBody>
                    <a:bodyPr/>
                    <a:lstStyle/>
                    <a:p>
                      <a:pPr algn="l" fontAlgn="b"/>
                      <a:r>
                        <a:rPr lang="en-US" sz="900" b="0" i="0" u="none" strike="noStrike" dirty="0">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15133953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76030.6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3_month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3_month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2053441"/>
                  </a:ext>
                </a:extLst>
              </a:tr>
              <a:tr h="155995">
                <a:tc>
                  <a:txBody>
                    <a:bodyPr/>
                    <a:lstStyle/>
                    <a:p>
                      <a:pPr algn="l" fontAlgn="b"/>
                      <a:r>
                        <a:rPr lang="en-US" sz="900" b="0" i="0" u="none" strike="noStrike" dirty="0">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0271585</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ltpl_gest</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ltpl_gest</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1194029"/>
                  </a:ext>
                </a:extLst>
              </a:tr>
              <a:tr h="155995">
                <a:tc>
                  <a:txBody>
                    <a:bodyPr/>
                    <a:lstStyle/>
                    <a:p>
                      <a:pPr algn="l" fontAlgn="b"/>
                      <a:r>
                        <a:rPr lang="en-US" sz="900" b="0" i="0" u="none" strike="noStrike" dirty="0">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85778683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high_risk_proc_cd_cnt</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high_risk_proc_cd_cnt</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5070091"/>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654999375</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7187.5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6_month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6_month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6197539"/>
                  </a:ext>
                </a:extLst>
              </a:tr>
              <a:tr h="311988">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30/202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6261880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20</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second trimester, not applicable or unspecified</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7835237"/>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6365155</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7569.27</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12_month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aid_12_month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4300154"/>
                  </a:ext>
                </a:extLst>
              </a:tr>
              <a:tr h="155995">
                <a:tc>
                  <a:txBody>
                    <a:bodyPr/>
                    <a:lstStyle/>
                    <a:p>
                      <a:pPr algn="l" fontAlgn="b"/>
                      <a:r>
                        <a:rPr lang="en-US" sz="900" b="0" i="0" u="none" strike="noStrike" dirty="0">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50957987</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um_inpatient_visit</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um_inpatient_visit</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6013283"/>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32104829</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oppler_flow_studie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oppler_flow_studie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3755944"/>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2769468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high_risk_diag_cnt</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high_risk_diag_cnt</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73402097"/>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0.07129845</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growth_restrictio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growth_restrictio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8998635"/>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47915578</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ransvaginal_ultrasound_exam</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ransvaginal_ultrasound_exam</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4136219"/>
                  </a:ext>
                </a:extLst>
              </a:tr>
              <a:tr h="578479">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3/202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46466243</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pro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9923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moderate level of medical decision making. When using total time on the date of the encounter for code selection, 35 minutes must be met or exceeded.</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2373056"/>
                  </a:ext>
                </a:extLst>
              </a:tr>
              <a:tr h="578479">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31/202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452380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o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 </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9923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straightforward or low level of medical decision making. When using total time on the date of the encounter for code selection, 25 minutes must be met or exceeded.</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8952226"/>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16/202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2601745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rvnu</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dirty="0">
                          <a:solidFill>
                            <a:srgbClr val="000000"/>
                          </a:solidFill>
                          <a:effectLst/>
                          <a:latin typeface="Elevance Sans Medium" pitchFamily="50" charset="0"/>
                        </a:rPr>
                        <a:t>610</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ncillary Service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9111586"/>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8/202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24195109</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Z3A23</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23 weeks gestation of pregnancy</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3017770"/>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nan</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7668799</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tati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ancer_hist_famly</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ancer_hist_famly</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8651503"/>
                  </a:ext>
                </a:extLst>
              </a:tr>
              <a:tr h="578479">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30/202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757259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o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9923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straightforward or low level of medical decision making. When using total time on the date of the encounter for code selection, 25 minutes must be met or exceeded.</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9205986"/>
                  </a:ext>
                </a:extLst>
              </a:tr>
              <a:tr h="155995">
                <a:tc>
                  <a:txBody>
                    <a:bodyPr/>
                    <a:lstStyle/>
                    <a:p>
                      <a:pPr algn="l" fontAlgn="b"/>
                      <a:r>
                        <a:rPr lang="en-US" sz="900" b="0" i="0" u="none" strike="noStrike">
                          <a:solidFill>
                            <a:srgbClr val="000000"/>
                          </a:solidFill>
                          <a:effectLst/>
                          <a:latin typeface="Elevance Sans Medium" pitchFamily="50" charset="0"/>
                        </a:rPr>
                        <a:t>F1CDFFA19BE2F3658AC34BFE2AE23B7C</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99525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16/2022</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015726084</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rvnu</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 </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483</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Ancillary Services</a:t>
                      </a:r>
                    </a:p>
                  </a:txBody>
                  <a:tcPr marL="6257" marR="6257" marT="625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3196678"/>
                  </a:ext>
                </a:extLst>
              </a:tr>
            </a:tbl>
          </a:graphicData>
        </a:graphic>
      </p:graphicFrame>
    </p:spTree>
    <p:extLst>
      <p:ext uri="{BB962C8B-B14F-4D97-AF65-F5344CB8AC3E}">
        <p14:creationId xmlns:p14="http://schemas.microsoft.com/office/powerpoint/2010/main" val="1929583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elon">
  <a:themeElements>
    <a:clrScheme name="Carelon">
      <a:dk1>
        <a:srgbClr val="5009B5"/>
      </a:dk1>
      <a:lt1>
        <a:srgbClr val="FFFFFF"/>
      </a:lt1>
      <a:dk2>
        <a:srgbClr val="231E33"/>
      </a:dk2>
      <a:lt2>
        <a:srgbClr val="E1EDFF"/>
      </a:lt2>
      <a:accent1>
        <a:srgbClr val="5009B5"/>
      </a:accent1>
      <a:accent2>
        <a:srgbClr val="794CFF"/>
      </a:accent2>
      <a:accent3>
        <a:srgbClr val="2B1B49"/>
      </a:accent3>
      <a:accent4>
        <a:srgbClr val="F5F5F5"/>
      </a:accent4>
      <a:accent5>
        <a:srgbClr val="00BBBA"/>
      </a:accent5>
      <a:accent6>
        <a:srgbClr val="44B8F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31E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Purple">
      <a:srgbClr val="5009B5"/>
    </a:custClr>
    <a:custClr name="Light Purple">
      <a:srgbClr val="794CFF"/>
    </a:custClr>
    <a:custClr name="Pale Purple">
      <a:srgbClr val="EBE4FF"/>
    </a:custClr>
    <a:custClr name="Turquoise">
      <a:srgbClr val="00BBBA"/>
    </a:custClr>
    <a:custClr name="Pale Turquoise">
      <a:srgbClr val="D9F5F5"/>
    </a:custClr>
    <a:custClr name="Cyan">
      <a:srgbClr val="44B8F3"/>
    </a:custClr>
    <a:custClr name="Pale Cyan">
      <a:srgbClr val="E1EDFF"/>
    </a:custClr>
    <a:custClr name="Dark Gray">
      <a:srgbClr val="231E33"/>
    </a:custClr>
    <a:custClr name="Pale Gray">
      <a:srgbClr val="F5F5F5"/>
    </a:custClr>
  </a:custClrLst>
  <a:extLst>
    <a:ext uri="{05A4C25C-085E-4340-85A3-A5531E510DB2}">
      <thm15:themeFamily xmlns:thm15="http://schemas.microsoft.com/office/thememl/2012/main" name="Presentation1" id="{96F36FE3-BE77-6B49-A28C-EBAB79D62A72}" vid="{CB23E6C2-2C9F-0340-8DDC-7FE0424000E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levance San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7209AA1A61D7B408C081C69C51E2085" ma:contentTypeVersion="3" ma:contentTypeDescription="Create a new document." ma:contentTypeScope="" ma:versionID="bc4c9b19d9411df4d1a389b1cfc745d5">
  <xsd:schema xmlns:xsd="http://www.w3.org/2001/XMLSchema" xmlns:xs="http://www.w3.org/2001/XMLSchema" xmlns:p="http://schemas.microsoft.com/office/2006/metadata/properties" xmlns:ns2="cbf536b3-8232-4782-9373-d2bddd2adf02" targetNamespace="http://schemas.microsoft.com/office/2006/metadata/properties" ma:root="true" ma:fieldsID="f4733d3a710627b16621a679d5a7d0a2" ns2:_="">
    <xsd:import namespace="cbf536b3-8232-4782-9373-d2bddd2adf02"/>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f536b3-8232-4782-9373-d2bddd2adf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A879919-1E6C-43A5-8596-997C9049FE83}">
  <ds:schemaRefs>
    <ds:schemaRef ds:uri="http://schemas.microsoft.com/sharepoint/v3/contenttype/forms"/>
  </ds:schemaRefs>
</ds:datastoreItem>
</file>

<file path=customXml/itemProps2.xml><?xml version="1.0" encoding="utf-8"?>
<ds:datastoreItem xmlns:ds="http://schemas.openxmlformats.org/officeDocument/2006/customXml" ds:itemID="{EAD2D5A0-5364-410B-B3C1-FCD72FB611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f536b3-8232-4782-9373-d2bddd2adf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C0A076-1BB0-4104-8BB5-0ECF7CDB5E02}">
  <ds:schemaRefs>
    <ds:schemaRef ds:uri="http://www.w3.org/XML/1998/namespace"/>
    <ds:schemaRef ds:uri="http://schemas.microsoft.com/office/infopath/2007/PartnerControls"/>
    <ds:schemaRef ds:uri="cbf536b3-8232-4782-9373-d2bddd2adf02"/>
    <ds:schemaRef ds:uri="http://purl.org/dc/terms/"/>
    <ds:schemaRef ds:uri="http://schemas.microsoft.com/office/2006/metadata/properties"/>
    <ds:schemaRef ds:uri="http://purl.org/dc/elements/1.1/"/>
    <ds:schemaRef ds:uri="http://schemas.microsoft.com/office/2006/documentManagement/typ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RL_PowerPoint_Template_ElevanceSans_060723</Template>
  <TotalTime>13503</TotalTime>
  <Words>3928</Words>
  <Application>Microsoft Office PowerPoint</Application>
  <PresentationFormat>Widescreen</PresentationFormat>
  <Paragraphs>1449</Paragraphs>
  <Slides>14</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Elevance Sans</vt:lpstr>
      <vt:lpstr>Arial</vt:lpstr>
      <vt:lpstr>Elevance Sans Medium</vt:lpstr>
      <vt:lpstr>Elevance Sans Italic</vt:lpstr>
      <vt:lpstr>Aptos Narrow</vt:lpstr>
      <vt:lpstr>Carelon</vt:lpstr>
      <vt:lpstr>think-cell Slide</vt:lpstr>
      <vt:lpstr>High-Risk Newborn Pregnancy Prediction Model- Iteration 2</vt:lpstr>
      <vt:lpstr>Modelling Data</vt:lpstr>
      <vt:lpstr>IHAN Results</vt:lpstr>
      <vt:lpstr>IHAN Results</vt:lpstr>
      <vt:lpstr>IHAN Test AUC results comparison </vt:lpstr>
      <vt:lpstr>IHAN Test AUC results comparison </vt:lpstr>
      <vt:lpstr>Top 30 Risk Increasing Medical Codes (based on test data – IHAN4041 model, count &gt;=5)</vt:lpstr>
      <vt:lpstr>Top 30 Risk Increasing Medical Codes (based on test data – IHAN3041 model, count &gt;=5 )</vt:lpstr>
      <vt:lpstr>IHAN4041 example</vt:lpstr>
      <vt:lpstr>IHAN303 Example</vt:lpstr>
      <vt:lpstr>IHAN3041 Example</vt:lpstr>
      <vt:lpstr>IHAN4041 example (GPI AND RVNU CODES AS TOP FEATUR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M, Roja</dc:creator>
  <cp:lastModifiedBy>C.M, Roja</cp:lastModifiedBy>
  <cp:revision>1</cp:revision>
  <dcterms:created xsi:type="dcterms:W3CDTF">2024-08-19T07:04:55Z</dcterms:created>
  <dcterms:modified xsi:type="dcterms:W3CDTF">2024-10-17T14:4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209AA1A61D7B408C081C69C51E2085</vt:lpwstr>
  </property>
</Properties>
</file>